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heme/themeOverride1.xml" ContentType="application/vnd.openxmlformats-officedocument.themeOverr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drawings/drawing2.xml" ContentType="application/vnd.openxmlformats-officedocument.drawingml.chartshape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281" r:id="rId2"/>
    <p:sldId id="348" r:id="rId3"/>
    <p:sldId id="347" r:id="rId4"/>
    <p:sldId id="318" r:id="rId5"/>
    <p:sldId id="319" r:id="rId6"/>
    <p:sldId id="340" r:id="rId7"/>
    <p:sldId id="345" r:id="rId8"/>
    <p:sldId id="325" r:id="rId9"/>
    <p:sldId id="337" r:id="rId10"/>
    <p:sldId id="320" r:id="rId11"/>
    <p:sldId id="349" r:id="rId12"/>
    <p:sldId id="346" r:id="rId13"/>
    <p:sldId id="282" r:id="rId14"/>
  </p:sldIdLst>
  <p:sldSz cx="9144000" cy="6858000" type="screen4x3"/>
  <p:notesSz cx="6858000" cy="9144000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ine Bastin" initials="AB" lastIdx="1" clrIdx="0">
    <p:extLst/>
  </p:cmAuthor>
  <p:cmAuthor id="2" name="Page Inextremis" initials="PI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1F2"/>
    <a:srgbClr val="35E7DF"/>
    <a:srgbClr val="DA0000"/>
    <a:srgbClr val="AC0000"/>
    <a:srgbClr val="F86B68"/>
    <a:srgbClr val="A2000C"/>
    <a:srgbClr val="08873F"/>
    <a:srgbClr val="A2E49E"/>
    <a:srgbClr val="FFEB71"/>
    <a:srgbClr val="D002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385" autoAdjust="0"/>
    <p:restoredTop sz="94648"/>
  </p:normalViewPr>
  <p:slideViewPr>
    <p:cSldViewPr snapToGrid="0" snapToObjects="1">
      <p:cViewPr varScale="1">
        <p:scale>
          <a:sx n="84" d="100"/>
          <a:sy n="84" d="100"/>
        </p:scale>
        <p:origin x="-1258" y="-6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Book1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Book1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Rail freight modal </a:t>
            </a:r>
            <a:r>
              <a:rPr lang="en-US" dirty="0" smtClean="0"/>
              <a:t>share EU26 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1!$A$2:$A$13</c:f>
              <c:numCache>
                <c:formatCode>General</c:formatCode>
                <c:ptCount val="12"/>
                <c:pt idx="0">
                  <c:v>1995</c:v>
                </c:pt>
                <c:pt idx="1">
                  <c:v>2000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numCache>
            </c:numRef>
          </c:xVal>
          <c:yVal>
            <c:numRef>
              <c:f>Sheet1!$B$2:$B$13</c:f>
              <c:numCache>
                <c:formatCode>General</c:formatCode>
                <c:ptCount val="12"/>
                <c:pt idx="0">
                  <c:v>13.6</c:v>
                </c:pt>
                <c:pt idx="1">
                  <c:v>12.5</c:v>
                </c:pt>
                <c:pt idx="2">
                  <c:v>11.3</c:v>
                </c:pt>
                <c:pt idx="3">
                  <c:v>11.6</c:v>
                </c:pt>
                <c:pt idx="4">
                  <c:v>11.8</c:v>
                </c:pt>
                <c:pt idx="5">
                  <c:v>11.8</c:v>
                </c:pt>
                <c:pt idx="6">
                  <c:v>10.8</c:v>
                </c:pt>
                <c:pt idx="7">
                  <c:v>11.2</c:v>
                </c:pt>
                <c:pt idx="8">
                  <c:v>11.9</c:v>
                </c:pt>
                <c:pt idx="9">
                  <c:v>11.8</c:v>
                </c:pt>
                <c:pt idx="10">
                  <c:v>11.7</c:v>
                </c:pt>
                <c:pt idx="11">
                  <c:v>11.7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0382336"/>
        <c:axId val="90382912"/>
      </c:scatterChart>
      <c:valAx>
        <c:axId val="9038233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382912"/>
        <c:crosses val="autoZero"/>
        <c:crossBetween val="midCat"/>
      </c:valAx>
      <c:valAx>
        <c:axId val="90382912"/>
        <c:scaling>
          <c:orientation val="minMax"/>
          <c:min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38233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 baseline="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Passenger Rail modal </a:t>
            </a:r>
            <a:r>
              <a:rPr lang="en-GB" dirty="0" smtClean="0"/>
              <a:t>share EU26</a:t>
            </a:r>
            <a:endParaRPr lang="en-GB" dirty="0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1!$A$41:$A$52</c:f>
              <c:numCache>
                <c:formatCode>General</c:formatCode>
                <c:ptCount val="12"/>
                <c:pt idx="0">
                  <c:v>1995</c:v>
                </c:pt>
                <c:pt idx="1">
                  <c:v>2000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</c:numCache>
            </c:numRef>
          </c:xVal>
          <c:yVal>
            <c:numRef>
              <c:f>Sheet1!$B$41:$B$52</c:f>
              <c:numCache>
                <c:formatCode>General</c:formatCode>
                <c:ptCount val="12"/>
                <c:pt idx="0">
                  <c:v>6.5</c:v>
                </c:pt>
                <c:pt idx="1">
                  <c:v>6.2</c:v>
                </c:pt>
                <c:pt idx="2">
                  <c:v>6</c:v>
                </c:pt>
                <c:pt idx="3">
                  <c:v>6.1</c:v>
                </c:pt>
                <c:pt idx="4">
                  <c:v>6.1</c:v>
                </c:pt>
                <c:pt idx="5">
                  <c:v>6.3</c:v>
                </c:pt>
                <c:pt idx="6">
                  <c:v>6.2</c:v>
                </c:pt>
                <c:pt idx="7">
                  <c:v>6.3</c:v>
                </c:pt>
                <c:pt idx="8">
                  <c:v>6.4</c:v>
                </c:pt>
                <c:pt idx="9">
                  <c:v>6.6</c:v>
                </c:pt>
                <c:pt idx="10">
                  <c:v>6.6</c:v>
                </c:pt>
                <c:pt idx="11">
                  <c:v>6.5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0384640"/>
        <c:axId val="90385216"/>
      </c:scatterChart>
      <c:valAx>
        <c:axId val="9038464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385216"/>
        <c:crosses val="autoZero"/>
        <c:crossBetween val="midCat"/>
      </c:valAx>
      <c:valAx>
        <c:axId val="903852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38464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039977641684"/>
          <c:y val="3.0831228624714799E-2"/>
          <c:w val="0.87661903373189498"/>
          <c:h val="0.91027721614162604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dal Share Growth</c:v>
                </c:pt>
              </c:strCache>
            </c:strRef>
          </c:tx>
          <c:spPr>
            <a:ln w="28575">
              <a:noFill/>
            </a:ln>
          </c:spPr>
          <c:marker>
            <c:spPr>
              <a:solidFill>
                <a:srgbClr val="0046AD"/>
              </a:solidFill>
            </c:spPr>
          </c:marker>
          <c:trendline>
            <c:trendlineType val="linear"/>
            <c:dispRSqr val="0"/>
            <c:dispEq val="0"/>
          </c:trendline>
          <c:trendline>
            <c:spPr>
              <a:ln w="63500">
                <a:solidFill>
                  <a:srgbClr val="CC0099"/>
                </a:solidFill>
              </a:ln>
            </c:spPr>
            <c:trendlineType val="linear"/>
            <c:dispRSqr val="0"/>
            <c:dispEq val="0"/>
          </c:trendline>
          <c:xVal>
            <c:numRef>
              <c:f>Sheet1!$A$2:$A$26</c:f>
              <c:numCache>
                <c:formatCode>General</c:formatCode>
                <c:ptCount val="25"/>
                <c:pt idx="0">
                  <c:v>18</c:v>
                </c:pt>
                <c:pt idx="1">
                  <c:v>13</c:v>
                </c:pt>
                <c:pt idx="2">
                  <c:v>37</c:v>
                </c:pt>
                <c:pt idx="3">
                  <c:v>21</c:v>
                </c:pt>
                <c:pt idx="4">
                  <c:v>29</c:v>
                </c:pt>
                <c:pt idx="5">
                  <c:v>27</c:v>
                </c:pt>
                <c:pt idx="6">
                  <c:v>30</c:v>
                </c:pt>
                <c:pt idx="7">
                  <c:v>0</c:v>
                </c:pt>
                <c:pt idx="8">
                  <c:v>17</c:v>
                </c:pt>
                <c:pt idx="9">
                  <c:v>0</c:v>
                </c:pt>
                <c:pt idx="10">
                  <c:v>32</c:v>
                </c:pt>
                <c:pt idx="11">
                  <c:v>32</c:v>
                </c:pt>
                <c:pt idx="12">
                  <c:v>0</c:v>
                </c:pt>
                <c:pt idx="13">
                  <c:v>24</c:v>
                </c:pt>
                <c:pt idx="14">
                  <c:v>0</c:v>
                </c:pt>
                <c:pt idx="16">
                  <c:v>23</c:v>
                </c:pt>
                <c:pt idx="17">
                  <c:v>36</c:v>
                </c:pt>
                <c:pt idx="18">
                  <c:v>33</c:v>
                </c:pt>
                <c:pt idx="19">
                  <c:v>12</c:v>
                </c:pt>
                <c:pt idx="20">
                  <c:v>54</c:v>
                </c:pt>
                <c:pt idx="21">
                  <c:v>40</c:v>
                </c:pt>
                <c:pt idx="22">
                  <c:v>10</c:v>
                </c:pt>
                <c:pt idx="23">
                  <c:v>12</c:v>
                </c:pt>
                <c:pt idx="24">
                  <c:v>54</c:v>
                </c:pt>
              </c:numCache>
            </c:numRef>
          </c:xVal>
          <c:yVal>
            <c:numRef>
              <c:f>Sheet1!$B$2:$B$26</c:f>
              <c:numCache>
                <c:formatCode>0%</c:formatCode>
                <c:ptCount val="25"/>
                <c:pt idx="0">
                  <c:v>0.37683484962378999</c:v>
                </c:pt>
                <c:pt idx="1">
                  <c:v>0.35793222785603901</c:v>
                </c:pt>
                <c:pt idx="2">
                  <c:v>-0.72981386841579299</c:v>
                </c:pt>
                <c:pt idx="3">
                  <c:v>-0.18000902341191299</c:v>
                </c:pt>
                <c:pt idx="4">
                  <c:v>0.23048099863902899</c:v>
                </c:pt>
                <c:pt idx="5">
                  <c:v>0.61945676250140902</c:v>
                </c:pt>
                <c:pt idx="6">
                  <c:v>-0.31782047315717499</c:v>
                </c:pt>
                <c:pt idx="7">
                  <c:v>0.27093307764660202</c:v>
                </c:pt>
                <c:pt idx="8">
                  <c:v>-0.19516532148874399</c:v>
                </c:pt>
                <c:pt idx="9">
                  <c:v>0.149279686267801</c:v>
                </c:pt>
                <c:pt idx="10">
                  <c:v>-0.21085363642056401</c:v>
                </c:pt>
                <c:pt idx="11">
                  <c:v>-0.266675134899579</c:v>
                </c:pt>
                <c:pt idx="12">
                  <c:v>-0.68805458824933996</c:v>
                </c:pt>
                <c:pt idx="13">
                  <c:v>0.42092036245609299</c:v>
                </c:pt>
                <c:pt idx="14">
                  <c:v>-3.7769697357948301E-2</c:v>
                </c:pt>
                <c:pt idx="16">
                  <c:v>4.36248542133593E-2</c:v>
                </c:pt>
                <c:pt idx="17">
                  <c:v>0.54663873354086401</c:v>
                </c:pt>
                <c:pt idx="18">
                  <c:v>-0.467955679177743</c:v>
                </c:pt>
                <c:pt idx="19">
                  <c:v>0.325950914008519</c:v>
                </c:pt>
                <c:pt idx="20">
                  <c:v>-0.27864482725492901</c:v>
                </c:pt>
                <c:pt idx="21">
                  <c:v>0.15497342481152801</c:v>
                </c:pt>
                <c:pt idx="22">
                  <c:v>-0.435856389720153</c:v>
                </c:pt>
                <c:pt idx="23">
                  <c:v>-0.47302935110042599</c:v>
                </c:pt>
                <c:pt idx="24">
                  <c:v>0.18109191748970799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6307520"/>
        <c:axId val="36308096"/>
      </c:scatterChart>
      <c:valAx>
        <c:axId val="363075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36308096"/>
        <c:crosses val="autoZero"/>
        <c:crossBetween val="midCat"/>
      </c:valAx>
      <c:valAx>
        <c:axId val="36308096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crossAx val="36307520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039977641684"/>
          <c:y val="3.0831228624714799E-2"/>
          <c:w val="0.87661903373189498"/>
          <c:h val="0.91027721614162604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dal Share Growth</c:v>
                </c:pt>
              </c:strCache>
            </c:strRef>
          </c:tx>
          <c:spPr>
            <a:ln w="28575">
              <a:noFill/>
            </a:ln>
          </c:spPr>
          <c:marker>
            <c:spPr>
              <a:solidFill>
                <a:srgbClr val="0046AD"/>
              </a:solidFill>
            </c:spPr>
          </c:marker>
          <c:trendline>
            <c:trendlineType val="linear"/>
            <c:dispRSqr val="0"/>
            <c:dispEq val="0"/>
          </c:trendline>
          <c:trendline>
            <c:spPr>
              <a:ln w="63500">
                <a:solidFill>
                  <a:srgbClr val="00B0F0"/>
                </a:solidFill>
              </a:ln>
            </c:spPr>
            <c:trendlineType val="linear"/>
            <c:dispRSqr val="0"/>
            <c:dispEq val="0"/>
          </c:trendline>
          <c:xVal>
            <c:numRef>
              <c:f>Sheet1!$A$2:$A$26</c:f>
              <c:numCache>
                <c:formatCode>0</c:formatCode>
                <c:ptCount val="25"/>
                <c:pt idx="0">
                  <c:v>219.6333412254555</c:v>
                </c:pt>
                <c:pt idx="1">
                  <c:v>769.48786157883274</c:v>
                </c:pt>
                <c:pt idx="2">
                  <c:v>19.631545361763671</c:v>
                </c:pt>
                <c:pt idx="3">
                  <c:v>42.912390678040623</c:v>
                </c:pt>
                <c:pt idx="4">
                  <c:v>283.6193224315507</c:v>
                </c:pt>
                <c:pt idx="5">
                  <c:v>355.57844638049642</c:v>
                </c:pt>
                <c:pt idx="6">
                  <c:v>15.71970272543277</c:v>
                </c:pt>
                <c:pt idx="7">
                  <c:v>172.01663650788569</c:v>
                </c:pt>
                <c:pt idx="8">
                  <c:v>60.154034003350247</c:v>
                </c:pt>
                <c:pt idx="9">
                  <c:v>85.531931974786858</c:v>
                </c:pt>
                <c:pt idx="10">
                  <c:v>344.1675368127955</c:v>
                </c:pt>
                <c:pt idx="11">
                  <c:v>74.762822691625871</c:v>
                </c:pt>
                <c:pt idx="12">
                  <c:v>287.37453219006107</c:v>
                </c:pt>
                <c:pt idx="13">
                  <c:v>384.43382060631268</c:v>
                </c:pt>
                <c:pt idx="14">
                  <c:v>2.0381208049698971</c:v>
                </c:pt>
                <c:pt idx="16">
                  <c:v>13.7199284295378</c:v>
                </c:pt>
                <c:pt idx="17">
                  <c:v>842.3926165525703</c:v>
                </c:pt>
                <c:pt idx="18">
                  <c:v>14.21713251173475</c:v>
                </c:pt>
                <c:pt idx="19">
                  <c:v>25.222191809107649</c:v>
                </c:pt>
                <c:pt idx="20">
                  <c:v>19.975390361353782</c:v>
                </c:pt>
                <c:pt idx="21">
                  <c:v>111.5389424104782</c:v>
                </c:pt>
                <c:pt idx="22">
                  <c:v>96.786868735887978</c:v>
                </c:pt>
                <c:pt idx="23">
                  <c:v>60.750932423943702</c:v>
                </c:pt>
                <c:pt idx="24">
                  <c:v>346.40674341179579</c:v>
                </c:pt>
              </c:numCache>
            </c:numRef>
          </c:xVal>
          <c:yVal>
            <c:numRef>
              <c:f>Sheet1!$B$2:$B$26</c:f>
              <c:numCache>
                <c:formatCode>0%</c:formatCode>
                <c:ptCount val="25"/>
                <c:pt idx="0">
                  <c:v>0.37683484962378999</c:v>
                </c:pt>
                <c:pt idx="1">
                  <c:v>0.35793222785603901</c:v>
                </c:pt>
                <c:pt idx="2">
                  <c:v>-0.72981386841579299</c:v>
                </c:pt>
                <c:pt idx="3">
                  <c:v>-0.18000902341191299</c:v>
                </c:pt>
                <c:pt idx="4">
                  <c:v>0.23048099863902899</c:v>
                </c:pt>
                <c:pt idx="5">
                  <c:v>0.61945676250140902</c:v>
                </c:pt>
                <c:pt idx="6">
                  <c:v>-0.31782047315717499</c:v>
                </c:pt>
                <c:pt idx="7">
                  <c:v>0.27093307764660202</c:v>
                </c:pt>
                <c:pt idx="8">
                  <c:v>-0.19516532148874399</c:v>
                </c:pt>
                <c:pt idx="9">
                  <c:v>0.149279686267801</c:v>
                </c:pt>
                <c:pt idx="10">
                  <c:v>-0.21085363642056401</c:v>
                </c:pt>
                <c:pt idx="11">
                  <c:v>-0.266675134899579</c:v>
                </c:pt>
                <c:pt idx="12">
                  <c:v>-0.68805458824933996</c:v>
                </c:pt>
                <c:pt idx="13">
                  <c:v>0.42092036245609299</c:v>
                </c:pt>
                <c:pt idx="14">
                  <c:v>-3.7769697357948301E-2</c:v>
                </c:pt>
                <c:pt idx="16">
                  <c:v>4.36248542133593E-2</c:v>
                </c:pt>
                <c:pt idx="17">
                  <c:v>0.54663873354086401</c:v>
                </c:pt>
                <c:pt idx="18">
                  <c:v>-0.467955679177743</c:v>
                </c:pt>
                <c:pt idx="19">
                  <c:v>0.325950914008519</c:v>
                </c:pt>
                <c:pt idx="20">
                  <c:v>-0.27864482725492901</c:v>
                </c:pt>
                <c:pt idx="21">
                  <c:v>0.15497342481152801</c:v>
                </c:pt>
                <c:pt idx="22">
                  <c:v>-0.435856389720153</c:v>
                </c:pt>
                <c:pt idx="23">
                  <c:v>-0.47302935110042599</c:v>
                </c:pt>
                <c:pt idx="24">
                  <c:v>0.18109191748970799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9413824"/>
        <c:axId val="36308672"/>
      </c:scatterChart>
      <c:valAx>
        <c:axId val="89413824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36308672"/>
        <c:crosses val="autoZero"/>
        <c:crossBetween val="midCat"/>
      </c:valAx>
      <c:valAx>
        <c:axId val="36308672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crossAx val="89413824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6726</cdr:x>
      <cdr:y>0.20673</cdr:y>
    </cdr:from>
    <cdr:to>
      <cdr:x>0.30793</cdr:x>
      <cdr:y>0.27037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2199456" y="935633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BE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61911</cdr:x>
      <cdr:y>0.11468</cdr:y>
    </cdr:from>
    <cdr:to>
      <cdr:x>0.65979</cdr:x>
      <cdr:y>0.17832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5095056" y="519042"/>
          <a:ext cx="334780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NL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51726</cdr:x>
      <cdr:y>0.29091</cdr:y>
    </cdr:from>
    <cdr:to>
      <cdr:x>0.55794</cdr:x>
      <cdr:y>0.35456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4256856" y="1316633"/>
          <a:ext cx="334780" cy="28807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92D050"/>
              </a:solidFill>
            </a:rPr>
            <a:t>DE</a:t>
          </a:r>
          <a:endParaRPr lang="fr-BE" sz="1400" b="1" dirty="0">
            <a:solidFill>
              <a:srgbClr val="92D050"/>
            </a:solidFill>
          </a:endParaRPr>
        </a:p>
      </cdr:txBody>
    </cdr:sp>
  </cdr:relSizeAnchor>
  <cdr:relSizeAnchor xmlns:cdr="http://schemas.openxmlformats.org/drawingml/2006/chartDrawing">
    <cdr:from>
      <cdr:x>0.48948</cdr:x>
      <cdr:y>0.07389</cdr:y>
    </cdr:from>
    <cdr:to>
      <cdr:x>0.53016</cdr:x>
      <cdr:y>0.13753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4028256" y="334417"/>
          <a:ext cx="334780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DK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34134</cdr:x>
      <cdr:y>0.18989</cdr:y>
    </cdr:from>
    <cdr:to>
      <cdr:x>0.38201</cdr:x>
      <cdr:y>0.25353</cdr:y>
    </cdr:to>
    <cdr:sp macro="" textlink="">
      <cdr:nvSpPr>
        <cdr:cNvPr id="12" name="TextBox 1"/>
        <cdr:cNvSpPr txBox="1"/>
      </cdr:nvSpPr>
      <cdr:spPr>
        <a:xfrm xmlns:a="http://schemas.openxmlformats.org/drawingml/2006/main">
          <a:off x="2809056" y="859433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92D050"/>
              </a:solidFill>
            </a:rPr>
            <a:t>AT</a:t>
          </a:r>
          <a:endParaRPr lang="fr-BE" sz="1400" b="1" dirty="0">
            <a:solidFill>
              <a:srgbClr val="92D050"/>
            </a:solidFill>
          </a:endParaRPr>
        </a:p>
      </cdr:txBody>
    </cdr:sp>
  </cdr:relSizeAnchor>
  <cdr:relSizeAnchor xmlns:cdr="http://schemas.openxmlformats.org/drawingml/2006/chartDrawing">
    <cdr:from>
      <cdr:x>0.62941</cdr:x>
      <cdr:y>0.83448</cdr:y>
    </cdr:from>
    <cdr:to>
      <cdr:x>0.67008</cdr:x>
      <cdr:y>0.89812</cdr:y>
    </cdr:to>
    <cdr:sp macro="" textlink="">
      <cdr:nvSpPr>
        <cdr:cNvPr id="14" name="TextBox 1"/>
        <cdr:cNvSpPr txBox="1"/>
      </cdr:nvSpPr>
      <cdr:spPr>
        <a:xfrm xmlns:a="http://schemas.openxmlformats.org/drawingml/2006/main">
          <a:off x="5179826" y="3776820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BG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40615</cdr:x>
      <cdr:y>0.55593</cdr:y>
    </cdr:from>
    <cdr:to>
      <cdr:x>0.44682</cdr:x>
      <cdr:y>0.61957</cdr:y>
    </cdr:to>
    <cdr:sp macro="" textlink="">
      <cdr:nvSpPr>
        <cdr:cNvPr id="15" name="TextBox 1"/>
        <cdr:cNvSpPr txBox="1"/>
      </cdr:nvSpPr>
      <cdr:spPr>
        <a:xfrm xmlns:a="http://schemas.openxmlformats.org/drawingml/2006/main">
          <a:off x="3342456" y="2516108"/>
          <a:ext cx="334697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CZ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53578</cdr:x>
      <cdr:y>0.6613</cdr:y>
    </cdr:from>
    <cdr:to>
      <cdr:x>0.57645</cdr:x>
      <cdr:y>0.72494</cdr:y>
    </cdr:to>
    <cdr:sp macro="" textlink="">
      <cdr:nvSpPr>
        <cdr:cNvPr id="16" name="TextBox 1"/>
        <cdr:cNvSpPr txBox="1"/>
      </cdr:nvSpPr>
      <cdr:spPr>
        <a:xfrm xmlns:a="http://schemas.openxmlformats.org/drawingml/2006/main">
          <a:off x="4409256" y="2993033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>
              <a:solidFill>
                <a:srgbClr val="92D050"/>
              </a:solidFill>
            </a:rPr>
            <a:t>E</a:t>
          </a:r>
          <a:r>
            <a:rPr lang="en-US" sz="1400" b="1" dirty="0" smtClean="0">
              <a:solidFill>
                <a:srgbClr val="92D050"/>
              </a:solidFill>
            </a:rPr>
            <a:t>E</a:t>
          </a:r>
          <a:endParaRPr lang="fr-BE" sz="1400" b="1" dirty="0">
            <a:solidFill>
              <a:srgbClr val="92D050"/>
            </a:solidFill>
          </a:endParaRPr>
        </a:p>
      </cdr:txBody>
    </cdr:sp>
  </cdr:relSizeAnchor>
  <cdr:relSizeAnchor xmlns:cdr="http://schemas.openxmlformats.org/drawingml/2006/chartDrawing">
    <cdr:from>
      <cdr:x>0.34134</cdr:x>
      <cdr:y>0.58775</cdr:y>
    </cdr:from>
    <cdr:to>
      <cdr:x>0.38201</cdr:x>
      <cdr:y>0.65139</cdr:y>
    </cdr:to>
    <cdr:sp macro="" textlink="">
      <cdr:nvSpPr>
        <cdr:cNvPr id="17" name="TextBox 1"/>
        <cdr:cNvSpPr txBox="1"/>
      </cdr:nvSpPr>
      <cdr:spPr>
        <a:xfrm xmlns:a="http://schemas.openxmlformats.org/drawingml/2006/main">
          <a:off x="2809056" y="2660124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ES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571</cdr:x>
      <cdr:y>0.61858</cdr:y>
    </cdr:from>
    <cdr:to>
      <cdr:x>0.61167</cdr:x>
      <cdr:y>0.68223</cdr:y>
    </cdr:to>
    <cdr:sp macro="" textlink="">
      <cdr:nvSpPr>
        <cdr:cNvPr id="19" name="TextBox 1"/>
        <cdr:cNvSpPr txBox="1"/>
      </cdr:nvSpPr>
      <cdr:spPr>
        <a:xfrm xmlns:a="http://schemas.openxmlformats.org/drawingml/2006/main">
          <a:off x="4699107" y="2799658"/>
          <a:ext cx="334697" cy="28807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BE" sz="1400" b="1" dirty="0" smtClean="0">
              <a:solidFill>
                <a:srgbClr val="FF0000"/>
              </a:solidFill>
            </a:rPr>
            <a:t>HU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10059</cdr:x>
      <cdr:y>0.45548</cdr:y>
    </cdr:from>
    <cdr:to>
      <cdr:x>0.14126</cdr:x>
      <cdr:y>0.51912</cdr:y>
    </cdr:to>
    <cdr:sp macro="" textlink="">
      <cdr:nvSpPr>
        <cdr:cNvPr id="20" name="TextBox 1"/>
        <cdr:cNvSpPr txBox="1"/>
      </cdr:nvSpPr>
      <cdr:spPr>
        <a:xfrm xmlns:a="http://schemas.openxmlformats.org/drawingml/2006/main">
          <a:off x="827856" y="2061466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92D050"/>
              </a:solidFill>
            </a:rPr>
            <a:t>LT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41544</cdr:x>
      <cdr:y>0.18989</cdr:y>
    </cdr:from>
    <cdr:to>
      <cdr:x>0.45611</cdr:x>
      <cdr:y>0.25353</cdr:y>
    </cdr:to>
    <cdr:sp macro="" textlink="">
      <cdr:nvSpPr>
        <cdr:cNvPr id="21" name="TextBox 1"/>
        <cdr:cNvSpPr txBox="1"/>
      </cdr:nvSpPr>
      <cdr:spPr>
        <a:xfrm xmlns:a="http://schemas.openxmlformats.org/drawingml/2006/main">
          <a:off x="3418876" y="859433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BE" sz="1400" b="1" dirty="0" smtClean="0">
              <a:solidFill>
                <a:srgbClr val="92D050"/>
              </a:solidFill>
            </a:rPr>
            <a:t>IT</a:t>
          </a:r>
          <a:endParaRPr lang="fr-BE" sz="1400" b="1" dirty="0">
            <a:solidFill>
              <a:srgbClr val="92D050"/>
            </a:solidFill>
          </a:endParaRPr>
        </a:p>
      </cdr:txBody>
    </cdr:sp>
  </cdr:relSizeAnchor>
  <cdr:relSizeAnchor xmlns:cdr="http://schemas.openxmlformats.org/drawingml/2006/chartDrawing">
    <cdr:from>
      <cdr:x>0.58208</cdr:x>
      <cdr:y>0.72865</cdr:y>
    </cdr:from>
    <cdr:to>
      <cdr:x>0.61676</cdr:x>
      <cdr:y>0.81243</cdr:y>
    </cdr:to>
    <cdr:sp macro="" textlink="">
      <cdr:nvSpPr>
        <cdr:cNvPr id="23" name="TextBox 1"/>
        <cdr:cNvSpPr txBox="1"/>
      </cdr:nvSpPr>
      <cdr:spPr>
        <a:xfrm xmlns:a="http://schemas.openxmlformats.org/drawingml/2006/main">
          <a:off x="4790256" y="3297833"/>
          <a:ext cx="285402" cy="3791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92D050"/>
              </a:solidFill>
            </a:rPr>
            <a:t>PL</a:t>
          </a:r>
          <a:endParaRPr lang="fr-BE" sz="1400" b="1" dirty="0">
            <a:solidFill>
              <a:srgbClr val="92D050"/>
            </a:solidFill>
          </a:endParaRPr>
        </a:p>
      </cdr:txBody>
    </cdr:sp>
  </cdr:relSizeAnchor>
  <cdr:relSizeAnchor xmlns:cdr="http://schemas.openxmlformats.org/drawingml/2006/chartDrawing">
    <cdr:from>
      <cdr:x>0.83855</cdr:x>
      <cdr:y>0.62209</cdr:y>
    </cdr:from>
    <cdr:to>
      <cdr:x>0.87922</cdr:x>
      <cdr:y>0.68573</cdr:y>
    </cdr:to>
    <cdr:sp macro="" textlink="">
      <cdr:nvSpPr>
        <cdr:cNvPr id="24" name="TextBox 1"/>
        <cdr:cNvSpPr txBox="1"/>
      </cdr:nvSpPr>
      <cdr:spPr>
        <a:xfrm xmlns:a="http://schemas.openxmlformats.org/drawingml/2006/main">
          <a:off x="6900900" y="2815542"/>
          <a:ext cx="334698" cy="28803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RO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20245</cdr:x>
      <cdr:y>0.69498</cdr:y>
    </cdr:from>
    <cdr:to>
      <cdr:x>0.24312</cdr:x>
      <cdr:y>0.75862</cdr:y>
    </cdr:to>
    <cdr:sp macro="" textlink="">
      <cdr:nvSpPr>
        <cdr:cNvPr id="25" name="TextBox 1"/>
        <cdr:cNvSpPr txBox="1"/>
      </cdr:nvSpPr>
      <cdr:spPr>
        <a:xfrm xmlns:a="http://schemas.openxmlformats.org/drawingml/2006/main">
          <a:off x="1666056" y="3145433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92D050"/>
              </a:solidFill>
            </a:rPr>
            <a:t>SI</a:t>
          </a:r>
          <a:endParaRPr lang="fr-BE" sz="1400" b="1" dirty="0">
            <a:solidFill>
              <a:srgbClr val="92D050"/>
            </a:solidFill>
          </a:endParaRPr>
        </a:p>
      </cdr:txBody>
    </cdr:sp>
  </cdr:relSizeAnchor>
  <cdr:relSizeAnchor xmlns:cdr="http://schemas.openxmlformats.org/drawingml/2006/chartDrawing">
    <cdr:from>
      <cdr:x>0.23022</cdr:x>
      <cdr:y>0.74548</cdr:y>
    </cdr:from>
    <cdr:to>
      <cdr:x>0.27089</cdr:x>
      <cdr:y>0.80912</cdr:y>
    </cdr:to>
    <cdr:sp macro="" textlink="">
      <cdr:nvSpPr>
        <cdr:cNvPr id="26" name="TextBox 1"/>
        <cdr:cNvSpPr txBox="1"/>
      </cdr:nvSpPr>
      <cdr:spPr>
        <a:xfrm xmlns:a="http://schemas.openxmlformats.org/drawingml/2006/main">
          <a:off x="1894656" y="3374033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SK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0909</cdr:x>
      <cdr:y>0.27407</cdr:y>
    </cdr:from>
    <cdr:to>
      <cdr:x>0.13158</cdr:x>
      <cdr:y>0.33771</cdr:y>
    </cdr:to>
    <cdr:sp macro="" textlink="">
      <cdr:nvSpPr>
        <cdr:cNvPr id="27" name="TextBox 1"/>
        <cdr:cNvSpPr txBox="1"/>
      </cdr:nvSpPr>
      <cdr:spPr>
        <a:xfrm xmlns:a="http://schemas.openxmlformats.org/drawingml/2006/main">
          <a:off x="748078" y="1240433"/>
          <a:ext cx="334780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EL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10059</cdr:x>
      <cdr:y>0.8465</cdr:y>
    </cdr:from>
    <cdr:to>
      <cdr:x>0.14127</cdr:x>
      <cdr:y>0.91014</cdr:y>
    </cdr:to>
    <cdr:sp macro="" textlink="">
      <cdr:nvSpPr>
        <cdr:cNvPr id="28" name="TextBox 1"/>
        <cdr:cNvSpPr txBox="1"/>
      </cdr:nvSpPr>
      <cdr:spPr>
        <a:xfrm xmlns:a="http://schemas.openxmlformats.org/drawingml/2006/main">
          <a:off x="827856" y="3831233"/>
          <a:ext cx="334780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92D050"/>
              </a:solidFill>
            </a:rPr>
            <a:t>IE</a:t>
          </a:r>
          <a:endParaRPr lang="fr-BE" sz="1400" b="1" dirty="0">
            <a:solidFill>
              <a:srgbClr val="92D050"/>
            </a:solidFill>
          </a:endParaRPr>
        </a:p>
      </cdr:txBody>
    </cdr:sp>
  </cdr:relSizeAnchor>
  <cdr:relSizeAnchor xmlns:cdr="http://schemas.openxmlformats.org/drawingml/2006/chartDrawing">
    <cdr:from>
      <cdr:x>0.23862</cdr:x>
      <cdr:y>0.30398</cdr:y>
    </cdr:from>
    <cdr:to>
      <cdr:x>0.27929</cdr:x>
      <cdr:y>0.36762</cdr:y>
    </cdr:to>
    <cdr:sp macro="" textlink="">
      <cdr:nvSpPr>
        <cdr:cNvPr id="30" name="TextBox 1"/>
        <cdr:cNvSpPr txBox="1"/>
      </cdr:nvSpPr>
      <cdr:spPr>
        <a:xfrm xmlns:a="http://schemas.openxmlformats.org/drawingml/2006/main">
          <a:off x="1963783" y="1375798"/>
          <a:ext cx="334698" cy="28803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PT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67179</cdr:x>
      <cdr:y>0.33481</cdr:y>
    </cdr:from>
    <cdr:to>
      <cdr:x>0.71246</cdr:x>
      <cdr:y>0.39845</cdr:y>
    </cdr:to>
    <cdr:sp macro="" textlink="">
      <cdr:nvSpPr>
        <cdr:cNvPr id="31" name="TextBox 1"/>
        <cdr:cNvSpPr txBox="1"/>
      </cdr:nvSpPr>
      <cdr:spPr>
        <a:xfrm xmlns:a="http://schemas.openxmlformats.org/drawingml/2006/main">
          <a:off x="5528601" y="1515334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BE" sz="1400" b="1" dirty="0" smtClean="0">
              <a:solidFill>
                <a:srgbClr val="FF0000"/>
              </a:solidFill>
            </a:rPr>
            <a:t>SE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10059</cdr:x>
      <cdr:y>0.36663</cdr:y>
    </cdr:from>
    <cdr:to>
      <cdr:x>0.14126</cdr:x>
      <cdr:y>0.43027</cdr:y>
    </cdr:to>
    <cdr:sp macro="" textlink="">
      <cdr:nvSpPr>
        <cdr:cNvPr id="32" name="TextBox 1"/>
        <cdr:cNvSpPr txBox="1"/>
      </cdr:nvSpPr>
      <cdr:spPr>
        <a:xfrm xmlns:a="http://schemas.openxmlformats.org/drawingml/2006/main">
          <a:off x="827856" y="1659350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FI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571</cdr:x>
      <cdr:y>0.56286</cdr:y>
    </cdr:from>
    <cdr:to>
      <cdr:x>0.61167</cdr:x>
      <cdr:y>0.6265</cdr:y>
    </cdr:to>
    <cdr:sp macro="" textlink="">
      <cdr:nvSpPr>
        <cdr:cNvPr id="29" name="TextBox 1"/>
        <cdr:cNvSpPr txBox="1"/>
      </cdr:nvSpPr>
      <cdr:spPr>
        <a:xfrm xmlns:a="http://schemas.openxmlformats.org/drawingml/2006/main">
          <a:off x="4699107" y="2547484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FR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41544</cdr:x>
      <cdr:y>0.39192</cdr:y>
    </cdr:from>
    <cdr:to>
      <cdr:x>0.45611</cdr:x>
      <cdr:y>0.45556</cdr:y>
    </cdr:to>
    <cdr:sp macro="" textlink="">
      <cdr:nvSpPr>
        <cdr:cNvPr id="33" name="TextBox 1"/>
        <cdr:cNvSpPr txBox="1"/>
      </cdr:nvSpPr>
      <cdr:spPr>
        <a:xfrm xmlns:a="http://schemas.openxmlformats.org/drawingml/2006/main">
          <a:off x="3418876" y="1773833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92D050"/>
              </a:solidFill>
            </a:rPr>
            <a:t>LV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88862</cdr:x>
      <cdr:y>0.33189</cdr:y>
    </cdr:from>
    <cdr:to>
      <cdr:x>0.9293</cdr:x>
      <cdr:y>0.39553</cdr:y>
    </cdr:to>
    <cdr:sp macro="" textlink="">
      <cdr:nvSpPr>
        <cdr:cNvPr id="34" name="TextBox 1"/>
        <cdr:cNvSpPr txBox="1"/>
      </cdr:nvSpPr>
      <cdr:spPr>
        <a:xfrm xmlns:a="http://schemas.openxmlformats.org/drawingml/2006/main">
          <a:off x="7312976" y="1502123"/>
          <a:ext cx="334780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BE" sz="1400" b="1" dirty="0" smtClean="0">
              <a:solidFill>
                <a:srgbClr val="FF0000"/>
              </a:solidFill>
            </a:rPr>
            <a:t>UK</a:t>
          </a:r>
          <a:endParaRPr lang="fr-BE" sz="1400" b="1" dirty="0">
            <a:solidFill>
              <a:srgbClr val="FF0000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4134</cdr:x>
      <cdr:y>0.22924</cdr:y>
    </cdr:from>
    <cdr:to>
      <cdr:x>0.88201</cdr:x>
      <cdr:y>0.29288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6923856" y="1037550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BE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91383</cdr:x>
      <cdr:y>0.14189</cdr:y>
    </cdr:from>
    <cdr:to>
      <cdr:x>0.95451</cdr:x>
      <cdr:y>0.20553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7520443" y="642193"/>
          <a:ext cx="334780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NL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35059</cdr:x>
      <cdr:y>0.27934</cdr:y>
    </cdr:from>
    <cdr:to>
      <cdr:x>0.39127</cdr:x>
      <cdr:y>0.34299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2885256" y="1264301"/>
          <a:ext cx="334780" cy="28807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92D050"/>
              </a:solidFill>
            </a:rPr>
            <a:t>DE</a:t>
          </a:r>
          <a:endParaRPr lang="fr-BE" sz="1400" b="1" dirty="0">
            <a:solidFill>
              <a:srgbClr val="92D050"/>
            </a:solidFill>
          </a:endParaRPr>
        </a:p>
      </cdr:txBody>
    </cdr:sp>
  </cdr:relSizeAnchor>
  <cdr:relSizeAnchor xmlns:cdr="http://schemas.openxmlformats.org/drawingml/2006/chartDrawing">
    <cdr:from>
      <cdr:x>0.43359</cdr:x>
      <cdr:y>0.07389</cdr:y>
    </cdr:from>
    <cdr:to>
      <cdr:x>0.47427</cdr:x>
      <cdr:y>0.13753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3568296" y="334417"/>
          <a:ext cx="334780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DK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28365</cdr:x>
      <cdr:y>0.18989</cdr:y>
    </cdr:from>
    <cdr:to>
      <cdr:x>0.32432</cdr:x>
      <cdr:y>0.25353</cdr:y>
    </cdr:to>
    <cdr:sp macro="" textlink="">
      <cdr:nvSpPr>
        <cdr:cNvPr id="12" name="TextBox 1"/>
        <cdr:cNvSpPr txBox="1"/>
      </cdr:nvSpPr>
      <cdr:spPr>
        <a:xfrm xmlns:a="http://schemas.openxmlformats.org/drawingml/2006/main">
          <a:off x="2334340" y="859433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92D050"/>
              </a:solidFill>
            </a:rPr>
            <a:t>AT</a:t>
          </a:r>
          <a:endParaRPr lang="fr-BE" sz="1400" b="1" dirty="0">
            <a:solidFill>
              <a:srgbClr val="92D050"/>
            </a:solidFill>
          </a:endParaRPr>
        </a:p>
      </cdr:txBody>
    </cdr:sp>
  </cdr:relSizeAnchor>
  <cdr:relSizeAnchor xmlns:cdr="http://schemas.openxmlformats.org/drawingml/2006/chartDrawing">
    <cdr:from>
      <cdr:x>0.10906</cdr:x>
      <cdr:y>0.88149</cdr:y>
    </cdr:from>
    <cdr:to>
      <cdr:x>0.14973</cdr:x>
      <cdr:y>0.94513</cdr:y>
    </cdr:to>
    <cdr:sp macro="" textlink="">
      <cdr:nvSpPr>
        <cdr:cNvPr id="14" name="TextBox 1"/>
        <cdr:cNvSpPr txBox="1"/>
      </cdr:nvSpPr>
      <cdr:spPr>
        <a:xfrm xmlns:a="http://schemas.openxmlformats.org/drawingml/2006/main">
          <a:off x="897539" y="3989587"/>
          <a:ext cx="334697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BG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11124</cdr:x>
      <cdr:y>0.50978</cdr:y>
    </cdr:from>
    <cdr:to>
      <cdr:x>0.15191</cdr:x>
      <cdr:y>0.57342</cdr:y>
    </cdr:to>
    <cdr:sp macro="" textlink="">
      <cdr:nvSpPr>
        <cdr:cNvPr id="15" name="TextBox 1"/>
        <cdr:cNvSpPr txBox="1"/>
      </cdr:nvSpPr>
      <cdr:spPr>
        <a:xfrm xmlns:a="http://schemas.openxmlformats.org/drawingml/2006/main">
          <a:off x="915468" y="2307233"/>
          <a:ext cx="334697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CZ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08208</cdr:x>
      <cdr:y>0.6613</cdr:y>
    </cdr:from>
    <cdr:to>
      <cdr:x>0.12275</cdr:x>
      <cdr:y>0.72494</cdr:y>
    </cdr:to>
    <cdr:sp macro="" textlink="">
      <cdr:nvSpPr>
        <cdr:cNvPr id="16" name="TextBox 1"/>
        <cdr:cNvSpPr txBox="1"/>
      </cdr:nvSpPr>
      <cdr:spPr>
        <a:xfrm xmlns:a="http://schemas.openxmlformats.org/drawingml/2006/main">
          <a:off x="675456" y="2993033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>
              <a:solidFill>
                <a:srgbClr val="92D050"/>
              </a:solidFill>
            </a:rPr>
            <a:t>E</a:t>
          </a:r>
          <a:r>
            <a:rPr lang="en-US" sz="1400" b="1" dirty="0" smtClean="0">
              <a:solidFill>
                <a:srgbClr val="92D050"/>
              </a:solidFill>
            </a:rPr>
            <a:t>E</a:t>
          </a:r>
          <a:endParaRPr lang="fr-BE" sz="1400" b="1" dirty="0">
            <a:solidFill>
              <a:srgbClr val="92D050"/>
            </a:solidFill>
          </a:endParaRPr>
        </a:p>
      </cdr:txBody>
    </cdr:sp>
  </cdr:relSizeAnchor>
  <cdr:relSizeAnchor xmlns:cdr="http://schemas.openxmlformats.org/drawingml/2006/chartDrawing">
    <cdr:from>
      <cdr:x>0.13763</cdr:x>
      <cdr:y>0.55804</cdr:y>
    </cdr:from>
    <cdr:to>
      <cdr:x>0.1783</cdr:x>
      <cdr:y>0.62168</cdr:y>
    </cdr:to>
    <cdr:sp macro="" textlink="">
      <cdr:nvSpPr>
        <cdr:cNvPr id="17" name="TextBox 1"/>
        <cdr:cNvSpPr txBox="1"/>
      </cdr:nvSpPr>
      <cdr:spPr>
        <a:xfrm xmlns:a="http://schemas.openxmlformats.org/drawingml/2006/main">
          <a:off x="1132656" y="2525672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ES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15615</cdr:x>
      <cdr:y>0.59778</cdr:y>
    </cdr:from>
    <cdr:to>
      <cdr:x>0.19682</cdr:x>
      <cdr:y>0.66143</cdr:y>
    </cdr:to>
    <cdr:sp macro="" textlink="">
      <cdr:nvSpPr>
        <cdr:cNvPr id="19" name="TextBox 1"/>
        <cdr:cNvSpPr txBox="1"/>
      </cdr:nvSpPr>
      <cdr:spPr>
        <a:xfrm xmlns:a="http://schemas.openxmlformats.org/drawingml/2006/main">
          <a:off x="1285056" y="2705524"/>
          <a:ext cx="334697" cy="28807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BE" sz="1400" b="1" dirty="0" smtClean="0">
              <a:solidFill>
                <a:srgbClr val="FF0000"/>
              </a:solidFill>
            </a:rPr>
            <a:t>HU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08208</cdr:x>
      <cdr:y>0.47089</cdr:y>
    </cdr:from>
    <cdr:to>
      <cdr:x>0.12275</cdr:x>
      <cdr:y>0.53453</cdr:y>
    </cdr:to>
    <cdr:sp macro="" textlink="">
      <cdr:nvSpPr>
        <cdr:cNvPr id="20" name="TextBox 1"/>
        <cdr:cNvSpPr txBox="1"/>
      </cdr:nvSpPr>
      <cdr:spPr>
        <a:xfrm xmlns:a="http://schemas.openxmlformats.org/drawingml/2006/main">
          <a:off x="675456" y="2131242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92D050"/>
              </a:solidFill>
            </a:rPr>
            <a:t>LT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46171</cdr:x>
      <cdr:y>0.18989</cdr:y>
    </cdr:from>
    <cdr:to>
      <cdr:x>0.50238</cdr:x>
      <cdr:y>0.25353</cdr:y>
    </cdr:to>
    <cdr:sp macro="" textlink="">
      <cdr:nvSpPr>
        <cdr:cNvPr id="21" name="TextBox 1"/>
        <cdr:cNvSpPr txBox="1"/>
      </cdr:nvSpPr>
      <cdr:spPr>
        <a:xfrm xmlns:a="http://schemas.openxmlformats.org/drawingml/2006/main">
          <a:off x="3799656" y="859433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BE" sz="1400" b="1" dirty="0" smtClean="0">
              <a:solidFill>
                <a:srgbClr val="92D050"/>
              </a:solidFill>
            </a:rPr>
            <a:t>IT</a:t>
          </a:r>
          <a:endParaRPr lang="fr-BE" sz="1400" b="1" dirty="0">
            <a:solidFill>
              <a:srgbClr val="92D050"/>
            </a:solidFill>
          </a:endParaRPr>
        </a:p>
      </cdr:txBody>
    </cdr:sp>
  </cdr:relSizeAnchor>
  <cdr:relSizeAnchor xmlns:cdr="http://schemas.openxmlformats.org/drawingml/2006/chartDrawing">
    <cdr:from>
      <cdr:x>0.0939</cdr:x>
      <cdr:y>0.72865</cdr:y>
    </cdr:from>
    <cdr:to>
      <cdr:x>0.12858</cdr:x>
      <cdr:y>0.81243</cdr:y>
    </cdr:to>
    <cdr:sp macro="" textlink="">
      <cdr:nvSpPr>
        <cdr:cNvPr id="23" name="TextBox 1"/>
        <cdr:cNvSpPr txBox="1"/>
      </cdr:nvSpPr>
      <cdr:spPr>
        <a:xfrm xmlns:a="http://schemas.openxmlformats.org/drawingml/2006/main">
          <a:off x="772767" y="3297833"/>
          <a:ext cx="285402" cy="3791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92D050"/>
              </a:solidFill>
            </a:rPr>
            <a:t>PL</a:t>
          </a:r>
          <a:endParaRPr lang="fr-BE" sz="1400" b="1" dirty="0">
            <a:solidFill>
              <a:srgbClr val="92D050"/>
            </a:solidFill>
          </a:endParaRPr>
        </a:p>
      </cdr:txBody>
    </cdr:sp>
  </cdr:relSizeAnchor>
  <cdr:relSizeAnchor xmlns:cdr="http://schemas.openxmlformats.org/drawingml/2006/chartDrawing">
    <cdr:from>
      <cdr:x>0.10059</cdr:x>
      <cdr:y>0.59778</cdr:y>
    </cdr:from>
    <cdr:to>
      <cdr:x>0.14126</cdr:x>
      <cdr:y>0.66142</cdr:y>
    </cdr:to>
    <cdr:sp macro="" textlink="">
      <cdr:nvSpPr>
        <cdr:cNvPr id="24" name="TextBox 1"/>
        <cdr:cNvSpPr txBox="1"/>
      </cdr:nvSpPr>
      <cdr:spPr>
        <a:xfrm xmlns:a="http://schemas.openxmlformats.org/drawingml/2006/main">
          <a:off x="827856" y="2705547"/>
          <a:ext cx="334697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RO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18393</cdr:x>
      <cdr:y>0.69498</cdr:y>
    </cdr:from>
    <cdr:to>
      <cdr:x>0.2246</cdr:x>
      <cdr:y>0.75862</cdr:y>
    </cdr:to>
    <cdr:sp macro="" textlink="">
      <cdr:nvSpPr>
        <cdr:cNvPr id="25" name="TextBox 1"/>
        <cdr:cNvSpPr txBox="1"/>
      </cdr:nvSpPr>
      <cdr:spPr>
        <a:xfrm xmlns:a="http://schemas.openxmlformats.org/drawingml/2006/main">
          <a:off x="1513656" y="3145433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92D050"/>
              </a:solidFill>
            </a:rPr>
            <a:t>SI</a:t>
          </a:r>
          <a:endParaRPr lang="fr-BE" sz="1400" b="1" dirty="0">
            <a:solidFill>
              <a:srgbClr val="92D050"/>
            </a:solidFill>
          </a:endParaRPr>
        </a:p>
      </cdr:txBody>
    </cdr:sp>
  </cdr:relSizeAnchor>
  <cdr:relSizeAnchor xmlns:cdr="http://schemas.openxmlformats.org/drawingml/2006/chartDrawing">
    <cdr:from>
      <cdr:x>0.13763</cdr:x>
      <cdr:y>0.74548</cdr:y>
    </cdr:from>
    <cdr:to>
      <cdr:x>0.1783</cdr:x>
      <cdr:y>0.80912</cdr:y>
    </cdr:to>
    <cdr:sp macro="" textlink="">
      <cdr:nvSpPr>
        <cdr:cNvPr id="26" name="TextBox 1"/>
        <cdr:cNvSpPr txBox="1"/>
      </cdr:nvSpPr>
      <cdr:spPr>
        <a:xfrm xmlns:a="http://schemas.openxmlformats.org/drawingml/2006/main">
          <a:off x="1132656" y="3374033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SK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24874</cdr:x>
      <cdr:y>0.27936</cdr:y>
    </cdr:from>
    <cdr:to>
      <cdr:x>0.28942</cdr:x>
      <cdr:y>0.343</cdr:y>
    </cdr:to>
    <cdr:sp macro="" textlink="">
      <cdr:nvSpPr>
        <cdr:cNvPr id="27" name="TextBox 1"/>
        <cdr:cNvSpPr txBox="1"/>
      </cdr:nvSpPr>
      <cdr:spPr>
        <a:xfrm xmlns:a="http://schemas.openxmlformats.org/drawingml/2006/main">
          <a:off x="2047056" y="1264370"/>
          <a:ext cx="334780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EL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33208</cdr:x>
      <cdr:y>0.82966</cdr:y>
    </cdr:from>
    <cdr:to>
      <cdr:x>0.37276</cdr:x>
      <cdr:y>0.8933</cdr:y>
    </cdr:to>
    <cdr:sp macro="" textlink="">
      <cdr:nvSpPr>
        <cdr:cNvPr id="28" name="TextBox 1"/>
        <cdr:cNvSpPr txBox="1"/>
      </cdr:nvSpPr>
      <cdr:spPr>
        <a:xfrm xmlns:a="http://schemas.openxmlformats.org/drawingml/2006/main">
          <a:off x="2732856" y="3755033"/>
          <a:ext cx="334780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92D050"/>
              </a:solidFill>
            </a:rPr>
            <a:t>IE</a:t>
          </a:r>
          <a:endParaRPr lang="fr-BE" sz="1400" b="1" dirty="0">
            <a:solidFill>
              <a:srgbClr val="92D050"/>
            </a:solidFill>
          </a:endParaRPr>
        </a:p>
      </cdr:txBody>
    </cdr:sp>
  </cdr:relSizeAnchor>
  <cdr:relSizeAnchor xmlns:cdr="http://schemas.openxmlformats.org/drawingml/2006/chartDrawing">
    <cdr:from>
      <cdr:x>0.09091</cdr:x>
      <cdr:y>0.22356</cdr:y>
    </cdr:from>
    <cdr:to>
      <cdr:x>0.13158</cdr:x>
      <cdr:y>0.2872</cdr:y>
    </cdr:to>
    <cdr:sp macro="" textlink="">
      <cdr:nvSpPr>
        <cdr:cNvPr id="30" name="TextBox 1"/>
        <cdr:cNvSpPr txBox="1"/>
      </cdr:nvSpPr>
      <cdr:spPr>
        <a:xfrm xmlns:a="http://schemas.openxmlformats.org/drawingml/2006/main">
          <a:off x="748119" y="1011833"/>
          <a:ext cx="334698" cy="28803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PT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19319</cdr:x>
      <cdr:y>0.34795</cdr:y>
    </cdr:from>
    <cdr:to>
      <cdr:x>0.23386</cdr:x>
      <cdr:y>0.41159</cdr:y>
    </cdr:to>
    <cdr:sp macro="" textlink="">
      <cdr:nvSpPr>
        <cdr:cNvPr id="31" name="TextBox 1"/>
        <cdr:cNvSpPr txBox="1"/>
      </cdr:nvSpPr>
      <cdr:spPr>
        <a:xfrm xmlns:a="http://schemas.openxmlformats.org/drawingml/2006/main">
          <a:off x="1589856" y="1574814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BE" sz="1400" b="1" dirty="0" smtClean="0">
              <a:solidFill>
                <a:srgbClr val="FF0000"/>
              </a:solidFill>
            </a:rPr>
            <a:t>SE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13763</cdr:x>
      <cdr:y>0.36196</cdr:y>
    </cdr:from>
    <cdr:to>
      <cdr:x>0.1783</cdr:x>
      <cdr:y>0.4256</cdr:y>
    </cdr:to>
    <cdr:sp macro="" textlink="">
      <cdr:nvSpPr>
        <cdr:cNvPr id="32" name="TextBox 1"/>
        <cdr:cNvSpPr txBox="1"/>
      </cdr:nvSpPr>
      <cdr:spPr>
        <a:xfrm xmlns:a="http://schemas.openxmlformats.org/drawingml/2006/main">
          <a:off x="1132656" y="1638201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FI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41544</cdr:x>
      <cdr:y>0.59778</cdr:y>
    </cdr:from>
    <cdr:to>
      <cdr:x>0.45611</cdr:x>
      <cdr:y>0.66142</cdr:y>
    </cdr:to>
    <cdr:sp macro="" textlink="">
      <cdr:nvSpPr>
        <cdr:cNvPr id="29" name="TextBox 1"/>
        <cdr:cNvSpPr txBox="1"/>
      </cdr:nvSpPr>
      <cdr:spPr>
        <a:xfrm xmlns:a="http://schemas.openxmlformats.org/drawingml/2006/main">
          <a:off x="3418876" y="2705547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FF0000"/>
              </a:solidFill>
            </a:rPr>
            <a:t>FR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09091</cdr:x>
      <cdr:y>0.39378</cdr:y>
    </cdr:from>
    <cdr:to>
      <cdr:x>0.13158</cdr:x>
      <cdr:y>0.45742</cdr:y>
    </cdr:to>
    <cdr:sp macro="" textlink="">
      <cdr:nvSpPr>
        <cdr:cNvPr id="33" name="TextBox 1"/>
        <cdr:cNvSpPr txBox="1"/>
      </cdr:nvSpPr>
      <cdr:spPr>
        <a:xfrm xmlns:a="http://schemas.openxmlformats.org/drawingml/2006/main">
          <a:off x="748119" y="1782217"/>
          <a:ext cx="334698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 smtClean="0">
              <a:solidFill>
                <a:srgbClr val="92D050"/>
              </a:solidFill>
            </a:rPr>
            <a:t>LV</a:t>
          </a:r>
          <a:endParaRPr lang="fr-BE" sz="1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41543</cdr:x>
      <cdr:y>0.31118</cdr:y>
    </cdr:from>
    <cdr:to>
      <cdr:x>0.45611</cdr:x>
      <cdr:y>0.37482</cdr:y>
    </cdr:to>
    <cdr:sp macro="" textlink="">
      <cdr:nvSpPr>
        <cdr:cNvPr id="34" name="TextBox 1"/>
        <cdr:cNvSpPr txBox="1"/>
      </cdr:nvSpPr>
      <cdr:spPr>
        <a:xfrm xmlns:a="http://schemas.openxmlformats.org/drawingml/2006/main">
          <a:off x="3418835" y="1408386"/>
          <a:ext cx="334780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BE" sz="1400" b="1" dirty="0" smtClean="0">
              <a:solidFill>
                <a:srgbClr val="FF0000"/>
              </a:solidFill>
            </a:rPr>
            <a:t>UK</a:t>
          </a:r>
          <a:endParaRPr lang="fr-BE" sz="1400" b="1" dirty="0">
            <a:solidFill>
              <a:srgbClr val="FF0000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B8AD64-758F-1A4A-BCF2-E0DACA784222}" type="datetime1">
              <a:rPr lang="fr-FR" smtClean="0"/>
              <a:pPr/>
              <a:t>20/11/2017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B50F6E-DE97-9645-96E1-B738C6E52681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2625640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5584C0-4CC8-324B-A862-813B5D776F84}" type="datetime1">
              <a:rPr lang="fr-FR" smtClean="0"/>
              <a:pPr/>
              <a:t>20/11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BE" smtClean="0"/>
              <a:t>Cliquez pour modifier les styles du texte du masque</a:t>
            </a:r>
          </a:p>
          <a:p>
            <a:pPr lvl="1"/>
            <a:r>
              <a:rPr lang="nl-BE" smtClean="0"/>
              <a:t>Deuxième niveau</a:t>
            </a:r>
          </a:p>
          <a:p>
            <a:pPr lvl="2"/>
            <a:r>
              <a:rPr lang="nl-BE" smtClean="0"/>
              <a:t>Troisième niveau</a:t>
            </a:r>
          </a:p>
          <a:p>
            <a:pPr lvl="3"/>
            <a:r>
              <a:rPr lang="nl-BE" smtClean="0"/>
              <a:t>Quatrième niveau</a:t>
            </a:r>
          </a:p>
          <a:p>
            <a:pPr lvl="4"/>
            <a:r>
              <a:rPr lang="nl-BE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61F3ED-8D58-2945-A1B1-042DF02BC25F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35293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FEF2229-A988-419D-8949-594DF6E054A7}" type="slidenum">
              <a:rPr lang="fr-BE" smtClean="0"/>
              <a:pPr>
                <a:defRPr/>
              </a:pPr>
              <a:t>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1046559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FEF2229-A988-419D-8949-594DF6E054A7}" type="slidenum">
              <a:rPr lang="fr-BE" smtClean="0"/>
              <a:pPr>
                <a:defRPr/>
              </a:pPr>
              <a:t>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8750595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buClr>
                <a:srgbClr val="0046AD"/>
              </a:buClr>
              <a:buSzPct val="85000"/>
              <a:buFont typeface="Wingdings" pitchFamily="2" charset="2"/>
              <a:buChar char=""/>
            </a:pPr>
            <a:r>
              <a:rPr lang="de-DE" sz="2000" b="0" dirty="0" smtClean="0"/>
              <a:t>States must make sure to put in place an institutional framework which preserve a fair </a:t>
            </a:r>
            <a:r>
              <a:rPr lang="de-DE" sz="2000" b="1" dirty="0" smtClean="0">
                <a:solidFill>
                  <a:srgbClr val="0046AD"/>
                </a:solidFill>
              </a:rPr>
              <a:t>intramodal</a:t>
            </a:r>
            <a:r>
              <a:rPr lang="de-DE" sz="2000" b="0" dirty="0" smtClean="0"/>
              <a:t> competition</a:t>
            </a:r>
          </a:p>
          <a:p>
            <a:pPr lvl="1" eaLnBrk="1" hangingPunct="1">
              <a:buClr>
                <a:srgbClr val="0046AD"/>
              </a:buClr>
              <a:buSzPct val="85000"/>
              <a:buFont typeface="Wingdings" pitchFamily="2" charset="2"/>
              <a:buChar char=""/>
            </a:pPr>
            <a:r>
              <a:rPr lang="de-DE" dirty="0" smtClean="0"/>
              <a:t>Adequately staffing the </a:t>
            </a:r>
            <a:r>
              <a:rPr lang="de-DE" b="1" dirty="0" smtClean="0">
                <a:solidFill>
                  <a:srgbClr val="0046AD"/>
                </a:solidFill>
              </a:rPr>
              <a:t>Rail Regulatory Body</a:t>
            </a:r>
          </a:p>
          <a:p>
            <a:pPr lvl="1" eaLnBrk="1" hangingPunct="1">
              <a:buClr>
                <a:srgbClr val="0046AD"/>
              </a:buClr>
              <a:buSzPct val="85000"/>
              <a:buFont typeface="Wingdings" pitchFamily="2" charset="2"/>
              <a:buChar char=""/>
            </a:pPr>
            <a:r>
              <a:rPr lang="de-DE" dirty="0" smtClean="0"/>
              <a:t>Guaranteeing the independence of the essential function of the infrastructure managers: </a:t>
            </a:r>
            <a:r>
              <a:rPr lang="de-DE" b="1" dirty="0" smtClean="0">
                <a:solidFill>
                  <a:srgbClr val="0046AD"/>
                </a:solidFill>
              </a:rPr>
              <a:t>path allocation</a:t>
            </a:r>
            <a:r>
              <a:rPr lang="de-DE" dirty="0" smtClean="0"/>
              <a:t> and </a:t>
            </a:r>
            <a:r>
              <a:rPr lang="de-DE" b="1" dirty="0" smtClean="0">
                <a:solidFill>
                  <a:srgbClr val="0046AD"/>
                </a:solidFill>
              </a:rPr>
              <a:t>infrastructure charging</a:t>
            </a:r>
          </a:p>
          <a:p>
            <a:r>
              <a:rPr lang="de-DE" sz="2000" dirty="0" smtClean="0"/>
              <a:t>States must make sure to put in place an institutional and legal framework which preserve a fair </a:t>
            </a:r>
            <a:r>
              <a:rPr lang="de-DE" sz="2000" b="1" dirty="0" smtClean="0">
                <a:solidFill>
                  <a:srgbClr val="0046AD"/>
                </a:solidFill>
              </a:rPr>
              <a:t>intermodal</a:t>
            </a:r>
            <a:r>
              <a:rPr lang="de-DE" sz="2000" dirty="0" smtClean="0"/>
              <a:t> competition</a:t>
            </a:r>
          </a:p>
          <a:p>
            <a:pPr lvl="1">
              <a:buFont typeface="Wingdings" pitchFamily="2" charset="2"/>
              <a:buChar char=""/>
            </a:pPr>
            <a:r>
              <a:rPr lang="de-DE" dirty="0" smtClean="0"/>
              <a:t>Putting enough </a:t>
            </a:r>
            <a:r>
              <a:rPr lang="de-DE" b="1" dirty="0" smtClean="0">
                <a:solidFill>
                  <a:srgbClr val="0046AD"/>
                </a:solidFill>
              </a:rPr>
              <a:t>resources</a:t>
            </a:r>
            <a:r>
              <a:rPr lang="de-DE" dirty="0" smtClean="0"/>
              <a:t> at disposal, and in a fair way</a:t>
            </a:r>
          </a:p>
          <a:p>
            <a:pPr lvl="1">
              <a:buFont typeface="Wingdings" pitchFamily="2" charset="2"/>
              <a:buChar char=""/>
            </a:pPr>
            <a:r>
              <a:rPr lang="de-DE" dirty="0" smtClean="0"/>
              <a:t>Establishing a </a:t>
            </a:r>
            <a:r>
              <a:rPr lang="de-DE" b="1" dirty="0" smtClean="0">
                <a:solidFill>
                  <a:srgbClr val="0046AD"/>
                </a:solidFill>
              </a:rPr>
              <a:t>fair policy of charging </a:t>
            </a:r>
            <a:r>
              <a:rPr lang="de-DE" dirty="0" smtClean="0"/>
              <a:t>for the access to respective networks</a:t>
            </a:r>
          </a:p>
          <a:p>
            <a:pPr lvl="1">
              <a:buFont typeface="Wingdings" pitchFamily="2" charset="2"/>
              <a:buChar char=""/>
            </a:pPr>
            <a:r>
              <a:rPr lang="de-DE" dirty="0" smtClean="0"/>
              <a:t>Making sure each modes‘ costs reflect all </a:t>
            </a:r>
            <a:r>
              <a:rPr lang="de-DE" b="1" dirty="0" smtClean="0">
                <a:solidFill>
                  <a:srgbClr val="0046AD"/>
                </a:solidFill>
              </a:rPr>
              <a:t>negative externalities</a:t>
            </a:r>
          </a:p>
          <a:p>
            <a:endParaRPr lang="de-DE" b="1" dirty="0" smtClean="0">
              <a:solidFill>
                <a:srgbClr val="0046AD"/>
              </a:solidFill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FEF2229-A988-419D-8949-594DF6E054A7}" type="slidenum">
              <a:rPr lang="fr-BE" smtClean="0"/>
              <a:pPr>
                <a:defRPr/>
              </a:pPr>
              <a:t>12</a:t>
            </a:fld>
            <a:endParaRPr lang="fr-BE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08-07-16</a:t>
            </a:r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950812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04A90E-55C9-4C00-AF72-FF94CF510762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8223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1424779" y="1735668"/>
            <a:ext cx="6389953" cy="18418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>
                <a:solidFill>
                  <a:schemeClr val="accent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hapter - Click to add a title – Verdana 36 * RGB 0/95/170</a:t>
            </a:r>
          </a:p>
        </p:txBody>
      </p:sp>
      <p:sp>
        <p:nvSpPr>
          <p:cNvPr id="9" name="Rectangle 8"/>
          <p:cNvSpPr/>
          <p:nvPr/>
        </p:nvSpPr>
        <p:spPr>
          <a:xfrm>
            <a:off x="570975" y="1868337"/>
            <a:ext cx="566207" cy="566207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1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519115" y="1868337"/>
            <a:ext cx="618067" cy="485247"/>
          </a:xfrm>
          <a:prstGeom prst="rect">
            <a:avLst/>
          </a:prstGeom>
        </p:spPr>
        <p:txBody>
          <a:bodyPr vert="horz" wrap="none" anchor="t"/>
          <a:lstStyle>
            <a:lvl1pPr marL="0" indent="0">
              <a:buNone/>
              <a:defRPr sz="2800" b="1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smtClean="0"/>
              <a:t>#°</a:t>
            </a:r>
          </a:p>
        </p:txBody>
      </p:sp>
      <p:sp>
        <p:nvSpPr>
          <p:cNvPr id="12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424779" y="3673871"/>
            <a:ext cx="6389953" cy="1500187"/>
          </a:xfrm>
          <a:prstGeom prst="rect">
            <a:avLst/>
          </a:prstGeom>
        </p:spPr>
        <p:txBody>
          <a:bodyPr wrap="square" anchor="t"/>
          <a:lstStyle>
            <a:lvl1pPr marL="0" indent="0">
              <a:buNone/>
              <a:defRPr sz="20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here to add a description or subtitle </a:t>
            </a:r>
          </a:p>
          <a:p>
            <a:pPr lvl="0"/>
            <a:r>
              <a:rPr lang="en-GB" noProof="0" dirty="0" smtClean="0"/>
              <a:t>– Verdana 20 * RGB 0/95/170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8776005" y="6537250"/>
            <a:ext cx="147107" cy="14710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4" name="ZoneTexte 48"/>
          <p:cNvSpPr txBox="1"/>
          <p:nvPr userDrawn="1"/>
        </p:nvSpPr>
        <p:spPr>
          <a:xfrm>
            <a:off x="8633924" y="6499742"/>
            <a:ext cx="42862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6FC6BE-8529-4A40-BD32-6FBEF43C03E3}" type="slidenum">
              <a:rPr lang="en-GB" sz="700" noProof="0" smtClean="0">
                <a:solidFill>
                  <a:schemeClr val="bg1"/>
                </a:solidFill>
              </a:rPr>
              <a:pPr marL="0" marR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noProof="0" dirty="0" smtClean="0">
              <a:solidFill>
                <a:schemeClr val="bg1"/>
              </a:solidFill>
            </a:endParaRPr>
          </a:p>
          <a:p>
            <a:endParaRPr lang="en-GB" noProof="0" dirty="0"/>
          </a:p>
        </p:txBody>
      </p:sp>
      <p:pic>
        <p:nvPicPr>
          <p:cNvPr id="13" name="Image 7" descr="CER Logo_Main_transparency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87944" y="218266"/>
            <a:ext cx="1372134" cy="67090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248785" y="211726"/>
            <a:ext cx="6927622" cy="1500187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400" b="1" baseline="0">
                <a:solidFill>
                  <a:schemeClr val="accent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Box - Click to add a title</a:t>
            </a:r>
          </a:p>
        </p:txBody>
      </p:sp>
      <p:pic>
        <p:nvPicPr>
          <p:cNvPr id="5" name="Image 7" descr="CER Logo_Main_transparency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87944" y="218266"/>
            <a:ext cx="1372134" cy="670905"/>
          </a:xfrm>
          <a:prstGeom prst="rect">
            <a:avLst/>
          </a:prstGeom>
        </p:spPr>
      </p:pic>
      <p:sp>
        <p:nvSpPr>
          <p:cNvPr id="6" name="Espace réservé du contenu 14"/>
          <p:cNvSpPr>
            <a:spLocks noGrp="1"/>
          </p:cNvSpPr>
          <p:nvPr>
            <p:ph sz="quarter" idx="15" hasCustomPrompt="1"/>
          </p:nvPr>
        </p:nvSpPr>
        <p:spPr>
          <a:xfrm>
            <a:off x="832986" y="2810933"/>
            <a:ext cx="7339158" cy="3457271"/>
          </a:xfrm>
          <a:prstGeom prst="rect">
            <a:avLst/>
          </a:prstGeom>
        </p:spPr>
        <p:txBody>
          <a:bodyPr vert="horz"/>
          <a:lstStyle>
            <a:lvl1pPr>
              <a:buClr>
                <a:schemeClr val="accent4"/>
              </a:buClr>
              <a:buFont typeface="Wingdings" charset="2"/>
              <a:buChar char="§"/>
              <a:defRPr sz="3000" baseline="0">
                <a:solidFill>
                  <a:srgbClr val="3C5C87"/>
                </a:solidFill>
              </a:defRPr>
            </a:lvl1pPr>
            <a:lvl2pPr>
              <a:buClr>
                <a:schemeClr val="accent4"/>
              </a:buClr>
              <a:buFont typeface="Wingdings" charset="2"/>
              <a:buChar char="§"/>
              <a:defRPr sz="2400">
                <a:solidFill>
                  <a:srgbClr val="3C5C87"/>
                </a:solidFill>
              </a:defRPr>
            </a:lvl2pPr>
            <a:lvl3pPr>
              <a:buClr>
                <a:schemeClr val="accent4"/>
              </a:buClr>
              <a:buFont typeface="Wingdings" charset="2"/>
              <a:buChar char="§"/>
              <a:defRPr sz="1600">
                <a:solidFill>
                  <a:srgbClr val="3C5C87"/>
                </a:solidFill>
              </a:defRPr>
            </a:lvl3pPr>
            <a:lvl4pPr>
              <a:buClr>
                <a:schemeClr val="accent4"/>
              </a:buClr>
              <a:buFont typeface="Wingdings" charset="2"/>
              <a:buChar char="§"/>
              <a:defRPr sz="1400">
                <a:solidFill>
                  <a:srgbClr val="3C5C87"/>
                </a:solidFill>
              </a:defRPr>
            </a:lvl4pPr>
            <a:lvl5pPr>
              <a:buClr>
                <a:schemeClr val="accent4"/>
              </a:buClr>
              <a:buFont typeface="Wingdings" charset="2"/>
              <a:buChar char="§"/>
              <a:defRPr sz="1200">
                <a:solidFill>
                  <a:srgbClr val="3C5C87"/>
                </a:solidFill>
              </a:defRPr>
            </a:lvl5pPr>
          </a:lstStyle>
          <a:p>
            <a:pPr lvl="0"/>
            <a:r>
              <a:rPr lang="en-GB" noProof="0" dirty="0" smtClean="0"/>
              <a:t>Level 1 bullet point</a:t>
            </a:r>
          </a:p>
          <a:p>
            <a:pPr lvl="1"/>
            <a:r>
              <a:rPr lang="en-GB" noProof="0" dirty="0" smtClean="0"/>
              <a:t>Level 2 bullet point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32986" y="2099429"/>
            <a:ext cx="7339158" cy="6096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 algn="ctr"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Box title</a:t>
            </a:r>
            <a:endParaRPr lang="en-US" dirty="0"/>
          </a:p>
        </p:txBody>
      </p:sp>
      <p:sp>
        <p:nvSpPr>
          <p:cNvPr id="8" name="ZoneTexte 48"/>
          <p:cNvSpPr txBox="1"/>
          <p:nvPr userDrawn="1"/>
        </p:nvSpPr>
        <p:spPr>
          <a:xfrm>
            <a:off x="8633924" y="6499742"/>
            <a:ext cx="42862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6FC6BE-8529-4A40-BD32-6FBEF43C03E3}" type="slidenum">
              <a:rPr lang="en-GB" sz="700" noProof="0" smtClean="0">
                <a:solidFill>
                  <a:schemeClr val="bg1"/>
                </a:solidFill>
              </a:rPr>
              <a:pPr marL="0" marR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noProof="0" dirty="0" smtClean="0">
              <a:solidFill>
                <a:schemeClr val="bg1"/>
              </a:solidFill>
            </a:endParaRPr>
          </a:p>
          <a:p>
            <a:endParaRPr lang="en-GB" noProof="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776005" y="6537250"/>
            <a:ext cx="147107" cy="14710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0" name="ZoneTexte 48"/>
          <p:cNvSpPr txBox="1"/>
          <p:nvPr userDrawn="1"/>
        </p:nvSpPr>
        <p:spPr>
          <a:xfrm>
            <a:off x="8633924" y="6499742"/>
            <a:ext cx="42862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6FC6BE-8529-4A40-BD32-6FBEF43C03E3}" type="slidenum">
              <a:rPr lang="en-GB" sz="700" noProof="0" smtClean="0">
                <a:solidFill>
                  <a:schemeClr val="bg1"/>
                </a:solidFill>
              </a:rPr>
              <a:pPr marL="0" marR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noProof="0" dirty="0" smtClean="0">
              <a:solidFill>
                <a:schemeClr val="bg1"/>
              </a:solidFill>
            </a:endParaRPr>
          </a:p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43232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262467" y="170257"/>
            <a:ext cx="6383866" cy="118441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400" b="1" baseline="0">
                <a:solidFill>
                  <a:schemeClr val="accent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Box – Click to add a title</a:t>
            </a:r>
          </a:p>
        </p:txBody>
      </p:sp>
      <p:pic>
        <p:nvPicPr>
          <p:cNvPr id="4" name="Image 7" descr="CER Logo_Main_transparency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87944" y="218266"/>
            <a:ext cx="1372134" cy="670905"/>
          </a:xfrm>
          <a:prstGeom prst="rect">
            <a:avLst/>
          </a:prstGeom>
        </p:spPr>
      </p:pic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53533" y="2057400"/>
            <a:ext cx="7391400" cy="609600"/>
          </a:xfrm>
          <a:prstGeom prst="rect">
            <a:avLst/>
          </a:prstGeom>
          <a:solidFill>
            <a:schemeClr val="accent4"/>
          </a:solidFill>
        </p:spPr>
        <p:txBody>
          <a:bodyPr/>
          <a:lstStyle>
            <a:lvl1pPr marL="0" indent="0" algn="ctr">
              <a:buNone/>
              <a:defRPr sz="3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Box title</a:t>
            </a:r>
            <a:endParaRPr lang="en-US" dirty="0"/>
          </a:p>
        </p:txBody>
      </p:sp>
      <p:sp>
        <p:nvSpPr>
          <p:cNvPr id="7" name="Espace réservé du contenu 14"/>
          <p:cNvSpPr>
            <a:spLocks noGrp="1"/>
          </p:cNvSpPr>
          <p:nvPr>
            <p:ph sz="quarter" idx="15" hasCustomPrompt="1"/>
          </p:nvPr>
        </p:nvSpPr>
        <p:spPr>
          <a:xfrm>
            <a:off x="753533" y="2777067"/>
            <a:ext cx="7391400" cy="3449108"/>
          </a:xfrm>
          <a:prstGeom prst="rect">
            <a:avLst/>
          </a:prstGeom>
        </p:spPr>
        <p:txBody>
          <a:bodyPr vert="horz"/>
          <a:lstStyle>
            <a:lvl1pPr>
              <a:buClr>
                <a:schemeClr val="accent4"/>
              </a:buClr>
              <a:buFont typeface="Wingdings" charset="2"/>
              <a:buChar char="§"/>
              <a:defRPr sz="3000" baseline="0">
                <a:solidFill>
                  <a:srgbClr val="3C5C87"/>
                </a:solidFill>
              </a:defRPr>
            </a:lvl1pPr>
            <a:lvl2pPr>
              <a:buClr>
                <a:schemeClr val="accent4"/>
              </a:buClr>
              <a:buFont typeface="Wingdings" charset="2"/>
              <a:buChar char="§"/>
              <a:defRPr sz="2400">
                <a:solidFill>
                  <a:srgbClr val="3C5C87"/>
                </a:solidFill>
              </a:defRPr>
            </a:lvl2pPr>
            <a:lvl3pPr>
              <a:buClr>
                <a:schemeClr val="accent4"/>
              </a:buClr>
              <a:buFont typeface="Wingdings" charset="2"/>
              <a:buChar char="§"/>
              <a:defRPr sz="1600">
                <a:solidFill>
                  <a:srgbClr val="3C5C87"/>
                </a:solidFill>
              </a:defRPr>
            </a:lvl3pPr>
            <a:lvl4pPr>
              <a:buClr>
                <a:schemeClr val="accent4"/>
              </a:buClr>
              <a:buFont typeface="Wingdings" charset="2"/>
              <a:buChar char="§"/>
              <a:defRPr sz="1400">
                <a:solidFill>
                  <a:srgbClr val="3C5C87"/>
                </a:solidFill>
              </a:defRPr>
            </a:lvl4pPr>
            <a:lvl5pPr>
              <a:buClr>
                <a:schemeClr val="accent4"/>
              </a:buClr>
              <a:buFont typeface="Wingdings" charset="2"/>
              <a:buChar char="§"/>
              <a:defRPr sz="1200">
                <a:solidFill>
                  <a:srgbClr val="3C5C87"/>
                </a:solidFill>
              </a:defRPr>
            </a:lvl5pPr>
          </a:lstStyle>
          <a:p>
            <a:pPr lvl="0"/>
            <a:r>
              <a:rPr lang="en-GB" noProof="0" dirty="0" smtClean="0"/>
              <a:t>Level 1 bullet point</a:t>
            </a:r>
          </a:p>
          <a:p>
            <a:pPr lvl="1"/>
            <a:r>
              <a:rPr lang="en-GB" noProof="0" dirty="0" smtClean="0"/>
              <a:t>Level 2 bullet point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8776005" y="6537250"/>
            <a:ext cx="147107" cy="14710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0" name="ZoneTexte 48"/>
          <p:cNvSpPr txBox="1"/>
          <p:nvPr userDrawn="1"/>
        </p:nvSpPr>
        <p:spPr>
          <a:xfrm>
            <a:off x="8633924" y="6499742"/>
            <a:ext cx="42862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6FC6BE-8529-4A40-BD32-6FBEF43C03E3}" type="slidenum">
              <a:rPr lang="en-GB" sz="700" noProof="0" smtClean="0">
                <a:solidFill>
                  <a:schemeClr val="bg1"/>
                </a:solidFill>
              </a:rPr>
              <a:pPr marL="0" marR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noProof="0" dirty="0" smtClean="0">
              <a:solidFill>
                <a:schemeClr val="bg1"/>
              </a:solidFill>
            </a:endParaRPr>
          </a:p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04114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-25400"/>
            <a:ext cx="9144000" cy="6883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Image 6" descr="banner_blue_red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3886268"/>
            <a:ext cx="9144000" cy="2997132"/>
          </a:xfrm>
          <a:prstGeom prst="rect">
            <a:avLst/>
          </a:prstGeom>
        </p:spPr>
      </p:pic>
      <p:sp>
        <p:nvSpPr>
          <p:cNvPr id="16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765413" y="1845312"/>
            <a:ext cx="5613174" cy="1505091"/>
          </a:xfrm>
          <a:prstGeom prst="rect">
            <a:avLst/>
          </a:prstGeo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b="1" noProof="0" dirty="0" smtClean="0"/>
              <a:t>First name Last name</a:t>
            </a:r>
          </a:p>
          <a:p>
            <a:r>
              <a:rPr lang="en-GB" noProof="0" dirty="0" smtClean="0"/>
              <a:t>Title</a:t>
            </a:r>
          </a:p>
          <a:p>
            <a:r>
              <a:rPr lang="en-GB" noProof="0" dirty="0" smtClean="0"/>
              <a:t>Tel: +32 (0)2 213 xx </a:t>
            </a:r>
            <a:r>
              <a:rPr lang="en-GB" noProof="0" dirty="0" err="1" smtClean="0"/>
              <a:t>xx</a:t>
            </a:r>
            <a:endParaRPr lang="en-GB" noProof="0" dirty="0" smtClean="0"/>
          </a:p>
          <a:p>
            <a:r>
              <a:rPr lang="en-GB" noProof="0" dirty="0" smtClean="0"/>
              <a:t>E-mail: firstname.lastname@cer.be</a:t>
            </a:r>
          </a:p>
          <a:p>
            <a:endParaRPr lang="en-GB" noProof="0" dirty="0" smtClean="0"/>
          </a:p>
          <a:p>
            <a:endParaRPr lang="en-GB" noProof="0" dirty="0" smtClean="0"/>
          </a:p>
          <a:p>
            <a:endParaRPr lang="en-GB" b="1" noProof="0" dirty="0" smtClean="0"/>
          </a:p>
        </p:txBody>
      </p:sp>
      <p:sp>
        <p:nvSpPr>
          <p:cNvPr id="12" name="Text Box 10"/>
          <p:cNvSpPr txBox="1">
            <a:spLocks noChangeArrowheads="1"/>
          </p:cNvSpPr>
          <p:nvPr userDrawn="1"/>
        </p:nvSpPr>
        <p:spPr bwMode="auto">
          <a:xfrm>
            <a:off x="1765413" y="3620125"/>
            <a:ext cx="5613174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eaLnBrk="1" hangingPunct="1">
              <a:lnSpc>
                <a:spcPct val="120000"/>
              </a:lnSpc>
            </a:pPr>
            <a:r>
              <a:rPr lang="en-GB" sz="2000" b="0" noProof="0" dirty="0" smtClean="0">
                <a:solidFill>
                  <a:schemeClr val="tx1"/>
                </a:solidFill>
                <a:latin typeface="+mj-lt"/>
              </a:rPr>
              <a:t>For regular updates on CER activities, </a:t>
            </a:r>
          </a:p>
          <a:p>
            <a:pPr eaLnBrk="1" hangingPunct="1">
              <a:lnSpc>
                <a:spcPct val="120000"/>
              </a:lnSpc>
            </a:pPr>
            <a:r>
              <a:rPr lang="en-GB" sz="2000" b="0" noProof="0" dirty="0" smtClean="0">
                <a:solidFill>
                  <a:schemeClr val="tx1"/>
                </a:solidFill>
                <a:latin typeface="+mj-lt"/>
              </a:rPr>
              <a:t>visit our website: </a:t>
            </a:r>
            <a:r>
              <a:rPr lang="en-GB" sz="2000" noProof="0" dirty="0" err="1" smtClean="0">
                <a:solidFill>
                  <a:schemeClr val="tx1"/>
                </a:solidFill>
                <a:latin typeface="+mj-lt"/>
              </a:rPr>
              <a:t>www.cer.be</a:t>
            </a:r>
            <a:endParaRPr lang="en-GB" sz="2000" noProof="0" dirty="0" smtClean="0">
              <a:solidFill>
                <a:schemeClr val="tx1"/>
              </a:solidFill>
              <a:latin typeface="+mj-lt"/>
            </a:endParaRPr>
          </a:p>
          <a:p>
            <a:pPr eaLnBrk="1" hangingPunct="1">
              <a:lnSpc>
                <a:spcPct val="120000"/>
              </a:lnSpc>
            </a:pPr>
            <a:r>
              <a:rPr lang="en-GB" sz="2000" b="0" noProof="0" dirty="0" smtClean="0">
                <a:solidFill>
                  <a:schemeClr val="tx1"/>
                </a:solidFill>
                <a:latin typeface="+mj-lt"/>
              </a:rPr>
              <a:t>or follow</a:t>
            </a:r>
            <a:r>
              <a:rPr lang="en-GB" sz="2000" b="0" baseline="0" noProof="0" dirty="0" smtClean="0">
                <a:solidFill>
                  <a:schemeClr val="tx1"/>
                </a:solidFill>
                <a:latin typeface="+mj-lt"/>
              </a:rPr>
              <a:t>     </a:t>
            </a:r>
            <a:r>
              <a:rPr lang="en-GB" sz="2000" u="none" noProof="0" dirty="0" smtClean="0">
                <a:solidFill>
                  <a:schemeClr val="tx1"/>
                </a:solidFill>
                <a:latin typeface="+mj-lt"/>
              </a:rPr>
              <a:t>@</a:t>
            </a:r>
            <a:r>
              <a:rPr lang="en-GB" sz="2000" u="none" noProof="0" dirty="0" err="1" smtClean="0">
                <a:solidFill>
                  <a:schemeClr val="tx1"/>
                </a:solidFill>
                <a:latin typeface="+mj-lt"/>
              </a:rPr>
              <a:t>CER_railways</a:t>
            </a:r>
            <a:r>
              <a:rPr lang="en-GB" sz="2000" u="none" noProof="0" dirty="0" smtClean="0">
                <a:solidFill>
                  <a:schemeClr val="tx1"/>
                </a:solidFill>
                <a:latin typeface="+mj-lt"/>
              </a:rPr>
              <a:t> </a:t>
            </a:r>
            <a:endParaRPr lang="en-GB" sz="2000" u="none" noProof="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00" y="5656014"/>
            <a:ext cx="1905001" cy="931451"/>
          </a:xfrm>
          <a:prstGeom prst="rect">
            <a:avLst/>
          </a:prstGeom>
        </p:spPr>
      </p:pic>
      <p:pic>
        <p:nvPicPr>
          <p:cNvPr id="13" name="Picture 12" descr="https://g.twimg.com/Twitter_logo_blue.png"/>
          <p:cNvPicPr/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5833" y="4515502"/>
            <a:ext cx="273800" cy="211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499155" y="659090"/>
            <a:ext cx="636731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3600" b="1" noProof="0" dirty="0" smtClean="0">
                <a:solidFill>
                  <a:srgbClr val="C00000"/>
                </a:solidFill>
              </a:rPr>
              <a:t>For further information:</a:t>
            </a:r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 level of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856" r="31182" b="-1"/>
          <a:stretch/>
        </p:blipFill>
        <p:spPr>
          <a:xfrm>
            <a:off x="7339517" y="152400"/>
            <a:ext cx="1804483" cy="81424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7162800" cy="132556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81200"/>
            <a:ext cx="8077200" cy="4351338"/>
          </a:xfrm>
          <a:prstGeom prst="rect">
            <a:avLst/>
          </a:prstGeom>
        </p:spPr>
        <p:txBody>
          <a:bodyPr/>
          <a:lstStyle>
            <a:lvl1pPr marL="457200" indent="-457200">
              <a:spcBef>
                <a:spcPts val="4200"/>
              </a:spcBef>
              <a:buFont typeface="Arial" panose="020B0604020202020204" pitchFamily="34" charset="0"/>
              <a:buChar char="•"/>
              <a:defRPr/>
            </a:lvl1pPr>
            <a:lvl2pPr marL="3429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0"/>
            <a:endParaRPr lang="en-US" dirty="0" smtClean="0"/>
          </a:p>
          <a:p>
            <a:pPr lvl="1"/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86600" y="6492875"/>
            <a:ext cx="2057400" cy="365125"/>
          </a:xfrm>
          <a:prstGeom prst="rect">
            <a:avLst/>
          </a:prstGeom>
        </p:spPr>
        <p:txBody>
          <a:bodyPr/>
          <a:lstStyle/>
          <a:p>
            <a:fld id="{47333891-D5E7-4C7B-BF1D-E855E53CB5A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4596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first_cover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6" y="0"/>
            <a:ext cx="9148217" cy="68580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987879" y="650360"/>
            <a:ext cx="7157064" cy="5422900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noProof="0" dirty="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265464" y="2109252"/>
            <a:ext cx="6725951" cy="2111219"/>
          </a:xfrm>
        </p:spPr>
        <p:txBody>
          <a:bodyPr anchor="t">
            <a:normAutofit/>
          </a:bodyPr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Click to add a title</a:t>
            </a:r>
            <a:endParaRPr lang="en-GB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265464" y="4496098"/>
            <a:ext cx="3380485" cy="36566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Event name</a:t>
            </a:r>
          </a:p>
        </p:txBody>
      </p:sp>
      <p:pic>
        <p:nvPicPr>
          <p:cNvPr id="12" name="Image 11" descr="CER Logo_Main_transparency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9172" y="849145"/>
            <a:ext cx="1782243" cy="871428"/>
          </a:xfrm>
          <a:prstGeom prst="rect">
            <a:avLst/>
          </a:prstGeom>
        </p:spPr>
      </p:pic>
      <p:sp>
        <p:nvSpPr>
          <p:cNvPr id="17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1265464" y="4861759"/>
            <a:ext cx="3380485" cy="40880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600" baseline="0">
                <a:solidFill>
                  <a:srgbClr val="A2000C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Date, place</a:t>
            </a:r>
          </a:p>
        </p:txBody>
      </p:sp>
      <p:sp>
        <p:nvSpPr>
          <p:cNvPr id="18" name="Espace réservé du texte 2"/>
          <p:cNvSpPr>
            <a:spLocks noGrp="1"/>
          </p:cNvSpPr>
          <p:nvPr>
            <p:ph type="body" idx="15" hasCustomPrompt="1"/>
          </p:nvPr>
        </p:nvSpPr>
        <p:spPr>
          <a:xfrm>
            <a:off x="1265463" y="5270561"/>
            <a:ext cx="3380485" cy="408802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600">
                <a:solidFill>
                  <a:schemeClr val="accent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smtClean="0"/>
              <a:t>Name, Function</a:t>
            </a:r>
          </a:p>
        </p:txBody>
      </p:sp>
    </p:spTree>
    <p:extLst>
      <p:ext uri="{BB962C8B-B14F-4D97-AF65-F5344CB8AC3E}">
        <p14:creationId xmlns:p14="http://schemas.microsoft.com/office/powerpoint/2010/main" val="3434172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hank yo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first_cover_backoverla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8217" cy="6858000"/>
          </a:xfrm>
          <a:prstGeom prst="rect">
            <a:avLst/>
          </a:prstGeom>
        </p:spPr>
      </p:pic>
      <p:sp>
        <p:nvSpPr>
          <p:cNvPr id="15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575355" y="1797183"/>
            <a:ext cx="6739845" cy="100409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6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BE" dirty="0" smtClean="0"/>
              <a:t>For further information:</a:t>
            </a:r>
          </a:p>
        </p:txBody>
      </p:sp>
      <p:sp>
        <p:nvSpPr>
          <p:cNvPr id="16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575355" y="2926952"/>
            <a:ext cx="5613174" cy="1465433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800" b="0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BE" b="1" dirty="0" smtClean="0"/>
              <a:t>First </a:t>
            </a:r>
            <a:r>
              <a:rPr lang="fr-BE" b="1" dirty="0" err="1" smtClean="0"/>
              <a:t>name</a:t>
            </a:r>
            <a:r>
              <a:rPr lang="fr-BE" b="1" dirty="0" smtClean="0"/>
              <a:t> Last </a:t>
            </a:r>
            <a:r>
              <a:rPr lang="fr-BE" b="1" dirty="0" err="1" smtClean="0"/>
              <a:t>name</a:t>
            </a:r>
            <a:endParaRPr lang="fr-BE" b="1" dirty="0" smtClean="0"/>
          </a:p>
          <a:p>
            <a:r>
              <a:rPr lang="fr-BE" dirty="0" err="1" smtClean="0"/>
              <a:t>Title</a:t>
            </a:r>
            <a:endParaRPr lang="fr-BE" dirty="0" smtClean="0"/>
          </a:p>
          <a:p>
            <a:r>
              <a:rPr lang="fr-BE" dirty="0" smtClean="0"/>
              <a:t>Tel: +32 (0)2 213 08 72</a:t>
            </a:r>
          </a:p>
          <a:p>
            <a:r>
              <a:rPr lang="fr-BE" dirty="0" smtClean="0"/>
              <a:t>E-mail: firstname.lastname@cer.be</a:t>
            </a:r>
          </a:p>
        </p:txBody>
      </p:sp>
      <p:sp>
        <p:nvSpPr>
          <p:cNvPr id="12" name="Text Box 10"/>
          <p:cNvSpPr txBox="1">
            <a:spLocks noChangeArrowheads="1"/>
          </p:cNvSpPr>
          <p:nvPr userDrawn="1"/>
        </p:nvSpPr>
        <p:spPr bwMode="auto">
          <a:xfrm>
            <a:off x="575355" y="4643735"/>
            <a:ext cx="4704998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eaLnBrk="1" hangingPunct="1"/>
            <a:r>
              <a:rPr lang="en-US" sz="1800" b="0" dirty="0">
                <a:solidFill>
                  <a:schemeClr val="bg1"/>
                </a:solidFill>
              </a:rPr>
              <a:t>For </a:t>
            </a:r>
            <a:r>
              <a:rPr lang="en-US" sz="1800" b="0" dirty="0" smtClean="0">
                <a:solidFill>
                  <a:schemeClr val="bg1"/>
                </a:solidFill>
              </a:rPr>
              <a:t>regular updates on CER activities, </a:t>
            </a:r>
            <a:endParaRPr lang="en-US" sz="1800" b="0" dirty="0">
              <a:solidFill>
                <a:schemeClr val="bg1"/>
              </a:solidFill>
            </a:endParaRPr>
          </a:p>
          <a:p>
            <a:pPr eaLnBrk="1" hangingPunct="1"/>
            <a:r>
              <a:rPr lang="en-US" sz="1800" b="0" dirty="0">
                <a:solidFill>
                  <a:schemeClr val="bg1"/>
                </a:solidFill>
              </a:rPr>
              <a:t>visit our website: </a:t>
            </a:r>
            <a:r>
              <a:rPr lang="en-US" sz="1800" dirty="0" smtClean="0">
                <a:solidFill>
                  <a:schemeClr val="bg1"/>
                </a:solidFill>
              </a:rPr>
              <a:t>www.cer.be</a:t>
            </a:r>
          </a:p>
          <a:p>
            <a:pPr eaLnBrk="1" hangingPunct="1"/>
            <a:r>
              <a:rPr lang="en-US" sz="1800" b="0" dirty="0">
                <a:solidFill>
                  <a:schemeClr val="bg1"/>
                </a:solidFill>
              </a:rPr>
              <a:t>o</a:t>
            </a:r>
            <a:r>
              <a:rPr lang="en-US" sz="1800" b="0" dirty="0" smtClean="0">
                <a:solidFill>
                  <a:schemeClr val="bg1"/>
                </a:solidFill>
              </a:rPr>
              <a:t>r follow</a:t>
            </a:r>
            <a:r>
              <a:rPr lang="en-US" sz="1800" b="0" baseline="0" dirty="0" smtClean="0">
                <a:solidFill>
                  <a:schemeClr val="bg1"/>
                </a:solidFill>
              </a:rPr>
              <a:t> </a:t>
            </a:r>
            <a:r>
              <a:rPr lang="en-US" sz="1800" u="sng" dirty="0" smtClean="0">
                <a:solidFill>
                  <a:schemeClr val="bg1"/>
                </a:solidFill>
              </a:rPr>
              <a:t>@</a:t>
            </a:r>
            <a:r>
              <a:rPr lang="en-US" sz="1800" u="sng" dirty="0" err="1" smtClean="0">
                <a:solidFill>
                  <a:schemeClr val="bg1"/>
                </a:solidFill>
              </a:rPr>
              <a:t>CER_railways</a:t>
            </a:r>
            <a:r>
              <a:rPr lang="en-US" sz="1800" u="sng" dirty="0" smtClean="0">
                <a:solidFill>
                  <a:schemeClr val="bg1"/>
                </a:solidFill>
              </a:rPr>
              <a:t> </a:t>
            </a:r>
            <a:endParaRPr lang="fr-FR" sz="1800" u="sng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6229" y="366084"/>
            <a:ext cx="1814871" cy="88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550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856" r="31182" b="-1"/>
          <a:stretch/>
        </p:blipFill>
        <p:spPr>
          <a:xfrm>
            <a:off x="7772400" y="4399"/>
            <a:ext cx="1371601" cy="814247"/>
          </a:xfrm>
          <a:prstGeom prst="rect">
            <a:avLst/>
          </a:prstGeom>
        </p:spPr>
      </p:pic>
      <p:sp>
        <p:nvSpPr>
          <p:cNvPr id="15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086600" y="6492877"/>
            <a:ext cx="2057400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301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248785" y="211726"/>
            <a:ext cx="6927622" cy="1500187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400" b="1" baseline="0">
                <a:solidFill>
                  <a:schemeClr val="accent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Bullet points - Click to add a title </a:t>
            </a:r>
            <a:r>
              <a:rPr lang="en-GB" noProof="0" dirty="0" err="1" smtClean="0"/>
              <a:t>xxxxxxx</a:t>
            </a:r>
            <a:r>
              <a:rPr lang="en-GB" noProof="0" dirty="0" smtClean="0"/>
              <a:t> </a:t>
            </a:r>
            <a:r>
              <a:rPr lang="en-GB" noProof="0" dirty="0" err="1" smtClean="0"/>
              <a:t>xxxx</a:t>
            </a:r>
            <a:endParaRPr lang="en-GB" noProof="0" dirty="0" smtClean="0"/>
          </a:p>
        </p:txBody>
      </p:sp>
      <p:pic>
        <p:nvPicPr>
          <p:cNvPr id="5" name="Image 7" descr="CER Logo_Main_transparency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87944" y="218266"/>
            <a:ext cx="1372134" cy="670905"/>
          </a:xfrm>
          <a:prstGeom prst="rect">
            <a:avLst/>
          </a:prstGeom>
        </p:spPr>
      </p:pic>
      <p:sp>
        <p:nvSpPr>
          <p:cNvPr id="6" name="Espace réservé du contenu 14"/>
          <p:cNvSpPr>
            <a:spLocks noGrp="1"/>
          </p:cNvSpPr>
          <p:nvPr>
            <p:ph sz="quarter" idx="15" hasCustomPrompt="1"/>
          </p:nvPr>
        </p:nvSpPr>
        <p:spPr>
          <a:xfrm>
            <a:off x="248786" y="2201181"/>
            <a:ext cx="8269286" cy="3559175"/>
          </a:xfrm>
          <a:prstGeom prst="rect">
            <a:avLst/>
          </a:prstGeom>
        </p:spPr>
        <p:txBody>
          <a:bodyPr vert="horz"/>
          <a:lstStyle>
            <a:lvl1pPr>
              <a:buClr>
                <a:schemeClr val="accent4"/>
              </a:buClr>
              <a:buFont typeface="Wingdings" charset="2"/>
              <a:buChar char="§"/>
              <a:defRPr sz="3000" baseline="0">
                <a:solidFill>
                  <a:srgbClr val="3C5C87"/>
                </a:solidFill>
              </a:defRPr>
            </a:lvl1pPr>
            <a:lvl2pPr>
              <a:buClr>
                <a:schemeClr val="accent4"/>
              </a:buClr>
              <a:buFont typeface="Wingdings" charset="2"/>
              <a:buChar char="§"/>
              <a:defRPr sz="2400">
                <a:solidFill>
                  <a:srgbClr val="3C5C87"/>
                </a:solidFill>
              </a:defRPr>
            </a:lvl2pPr>
            <a:lvl3pPr>
              <a:buClr>
                <a:schemeClr val="accent4"/>
              </a:buClr>
              <a:buFont typeface="Wingdings" charset="2"/>
              <a:buChar char="§"/>
              <a:defRPr sz="1600">
                <a:solidFill>
                  <a:srgbClr val="3C5C87"/>
                </a:solidFill>
              </a:defRPr>
            </a:lvl3pPr>
            <a:lvl4pPr>
              <a:buClr>
                <a:schemeClr val="accent4"/>
              </a:buClr>
              <a:buFont typeface="Wingdings" charset="2"/>
              <a:buChar char="§"/>
              <a:defRPr sz="1400">
                <a:solidFill>
                  <a:srgbClr val="3C5C87"/>
                </a:solidFill>
              </a:defRPr>
            </a:lvl4pPr>
            <a:lvl5pPr>
              <a:buClr>
                <a:schemeClr val="accent4"/>
              </a:buClr>
              <a:buFont typeface="Wingdings" charset="2"/>
              <a:buChar char="§"/>
              <a:defRPr sz="1200">
                <a:solidFill>
                  <a:srgbClr val="3C5C87"/>
                </a:solidFill>
              </a:defRPr>
            </a:lvl5pPr>
          </a:lstStyle>
          <a:p>
            <a:pPr lvl="0"/>
            <a:r>
              <a:rPr lang="en-GB" noProof="0" dirty="0" smtClean="0"/>
              <a:t>Level 1 bullet point</a:t>
            </a:r>
          </a:p>
          <a:p>
            <a:pPr lvl="1"/>
            <a:r>
              <a:rPr lang="en-GB" noProof="0" dirty="0" smtClean="0"/>
              <a:t>Level 2 bullet point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8776005" y="6537250"/>
            <a:ext cx="147107" cy="14710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9" name="ZoneTexte 48"/>
          <p:cNvSpPr txBox="1"/>
          <p:nvPr userDrawn="1"/>
        </p:nvSpPr>
        <p:spPr>
          <a:xfrm>
            <a:off x="8633924" y="6499742"/>
            <a:ext cx="42862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6FC6BE-8529-4A40-BD32-6FBEF43C03E3}" type="slidenum">
              <a:rPr lang="en-GB" sz="700" noProof="0" smtClean="0">
                <a:solidFill>
                  <a:schemeClr val="bg1"/>
                </a:solidFill>
              </a:rPr>
              <a:pPr marL="0" marR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noProof="0" dirty="0" smtClean="0">
              <a:solidFill>
                <a:schemeClr val="bg1"/>
              </a:solidFill>
            </a:endParaRPr>
          </a:p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7418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graphique 16"/>
          <p:cNvSpPr>
            <a:spLocks noGrp="1"/>
          </p:cNvSpPr>
          <p:nvPr>
            <p:ph type="chart" sz="quarter" idx="19"/>
          </p:nvPr>
        </p:nvSpPr>
        <p:spPr>
          <a:xfrm>
            <a:off x="248785" y="2134080"/>
            <a:ext cx="8245928" cy="4004808"/>
          </a:xfrm>
          <a:prstGeom prst="rect">
            <a:avLst/>
          </a:prstGeom>
        </p:spPr>
        <p:txBody>
          <a:bodyPr vert="horz"/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2400" b="0">
                <a:solidFill>
                  <a:srgbClr val="3C5C86"/>
                </a:solidFill>
              </a:defRPr>
            </a:lvl1pPr>
            <a:lvl2pPr marL="685800" indent="-457200">
              <a:buFont typeface="Wingdings" panose="05000000000000000000" pitchFamily="2" charset="2"/>
              <a:buNone/>
              <a:defRPr/>
            </a:lvl2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GB" noProof="0" dirty="0" smtClean="0"/>
          </a:p>
        </p:txBody>
      </p:sp>
      <p:sp>
        <p:nvSpPr>
          <p:cNvPr id="10" name="Rectangle 9"/>
          <p:cNvSpPr/>
          <p:nvPr userDrawn="1"/>
        </p:nvSpPr>
        <p:spPr>
          <a:xfrm>
            <a:off x="8776005" y="6528431"/>
            <a:ext cx="147107" cy="14710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2" name="ZoneTexte 48"/>
          <p:cNvSpPr txBox="1"/>
          <p:nvPr userDrawn="1"/>
        </p:nvSpPr>
        <p:spPr>
          <a:xfrm>
            <a:off x="8635171" y="6502427"/>
            <a:ext cx="42862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6FC6BE-8529-4A40-BD32-6FBEF43C03E3}" type="slidenum">
              <a:rPr lang="en-GB" sz="700" noProof="0" smtClean="0">
                <a:solidFill>
                  <a:schemeClr val="bg1"/>
                </a:solidFill>
              </a:rPr>
              <a:pPr marL="0" marR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noProof="0" dirty="0" smtClean="0">
              <a:solidFill>
                <a:schemeClr val="bg1"/>
              </a:solidFill>
            </a:endParaRPr>
          </a:p>
          <a:p>
            <a:endParaRPr lang="en-GB" noProof="0" dirty="0"/>
          </a:p>
        </p:txBody>
      </p:sp>
      <p:sp>
        <p:nvSpPr>
          <p:cNvPr id="9" name="Espace réservé du texte 2"/>
          <p:cNvSpPr>
            <a:spLocks noGrp="1"/>
          </p:cNvSpPr>
          <p:nvPr>
            <p:ph type="body" idx="20" hasCustomPrompt="1"/>
          </p:nvPr>
        </p:nvSpPr>
        <p:spPr>
          <a:xfrm>
            <a:off x="248785" y="202907"/>
            <a:ext cx="6927622" cy="1500187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400" b="1">
                <a:solidFill>
                  <a:schemeClr val="accent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Graph - Click to add a title </a:t>
            </a:r>
            <a:r>
              <a:rPr lang="en-GB" noProof="0" dirty="0" err="1" smtClean="0"/>
              <a:t>xxxxxxx</a:t>
            </a:r>
            <a:r>
              <a:rPr lang="en-GB" noProof="0" dirty="0" smtClean="0"/>
              <a:t> </a:t>
            </a:r>
            <a:r>
              <a:rPr lang="en-GB" noProof="0" dirty="0" err="1" smtClean="0"/>
              <a:t>xxxx</a:t>
            </a:r>
            <a:endParaRPr lang="en-GB" noProof="0" dirty="0" smtClean="0"/>
          </a:p>
        </p:txBody>
      </p:sp>
      <p:pic>
        <p:nvPicPr>
          <p:cNvPr id="13" name="Image 7" descr="CER Logo_Main_transparency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87944" y="209447"/>
            <a:ext cx="1372134" cy="67090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1585915" y="3461411"/>
            <a:ext cx="6743698" cy="1359652"/>
          </a:xfrm>
          <a:prstGeom prst="rect">
            <a:avLst/>
          </a:prstGeom>
        </p:spPr>
        <p:txBody>
          <a:bodyPr wrap="square"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i="1">
                <a:solidFill>
                  <a:srgbClr val="3C5C8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noProof="0" dirty="0" smtClean="0"/>
              <a:t>Type your quote here</a:t>
            </a:r>
          </a:p>
        </p:txBody>
      </p:sp>
      <p:sp>
        <p:nvSpPr>
          <p:cNvPr id="20" name="Espace réservé du texte 2"/>
          <p:cNvSpPr>
            <a:spLocks noGrp="1"/>
          </p:cNvSpPr>
          <p:nvPr>
            <p:ph type="body" idx="24" hasCustomPrompt="1"/>
          </p:nvPr>
        </p:nvSpPr>
        <p:spPr>
          <a:xfrm>
            <a:off x="1585915" y="4986162"/>
            <a:ext cx="2248954" cy="345544"/>
          </a:xfrm>
          <a:prstGeom prst="rect">
            <a:avLst/>
          </a:prstGeom>
        </p:spPr>
        <p:txBody>
          <a:bodyPr wrap="square"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 i="0" baseline="0">
                <a:solidFill>
                  <a:schemeClr val="accent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noProof="0" dirty="0" smtClean="0"/>
              <a:t>Name</a:t>
            </a:r>
          </a:p>
        </p:txBody>
      </p:sp>
      <p:sp>
        <p:nvSpPr>
          <p:cNvPr id="16" name="Espace réservé du texte 2"/>
          <p:cNvSpPr>
            <a:spLocks noGrp="1"/>
          </p:cNvSpPr>
          <p:nvPr>
            <p:ph type="body" idx="25" hasCustomPrompt="1"/>
          </p:nvPr>
        </p:nvSpPr>
        <p:spPr>
          <a:xfrm>
            <a:off x="1585915" y="5331706"/>
            <a:ext cx="2248954" cy="345544"/>
          </a:xfrm>
          <a:prstGeom prst="rect">
            <a:avLst/>
          </a:prstGeom>
        </p:spPr>
        <p:txBody>
          <a:bodyPr wrap="square"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i="1" baseline="0">
                <a:solidFill>
                  <a:schemeClr val="accent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noProof="0" dirty="0" smtClean="0"/>
              <a:t>Function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8776005" y="6519612"/>
            <a:ext cx="147107" cy="14710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2" name="ZoneTexte 48"/>
          <p:cNvSpPr txBox="1"/>
          <p:nvPr userDrawn="1"/>
        </p:nvSpPr>
        <p:spPr>
          <a:xfrm>
            <a:off x="8635245" y="6489754"/>
            <a:ext cx="42862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6FC6BE-8529-4A40-BD32-6FBEF43C03E3}" type="slidenum">
              <a:rPr lang="en-GB" sz="700" noProof="0" smtClean="0">
                <a:solidFill>
                  <a:schemeClr val="bg1"/>
                </a:solidFill>
              </a:rPr>
              <a:pPr marL="0" marR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noProof="0" dirty="0" smtClean="0">
              <a:solidFill>
                <a:schemeClr val="bg1"/>
              </a:solidFill>
            </a:endParaRPr>
          </a:p>
          <a:p>
            <a:endParaRPr lang="en-GB" noProof="0" dirty="0"/>
          </a:p>
        </p:txBody>
      </p:sp>
      <p:pic>
        <p:nvPicPr>
          <p:cNvPr id="11" name="Image 7" descr="CER Logo_Main_transparency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87944" y="200628"/>
            <a:ext cx="1372134" cy="670905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605348" y="2991205"/>
            <a:ext cx="954107" cy="19389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sz="12000" b="1" noProof="0" dirty="0" smtClean="0">
                <a:solidFill>
                  <a:srgbClr val="B30E0A"/>
                </a:solidFill>
                <a:latin typeface="Helvetica"/>
                <a:cs typeface="Helvetica"/>
              </a:rPr>
              <a:t>“</a:t>
            </a:r>
          </a:p>
        </p:txBody>
      </p:sp>
      <p:sp>
        <p:nvSpPr>
          <p:cNvPr id="17" name="Espace réservé pour une image  16"/>
          <p:cNvSpPr>
            <a:spLocks noGrp="1"/>
          </p:cNvSpPr>
          <p:nvPr>
            <p:ph type="pic" sz="quarter" idx="26" hasCustomPrompt="1"/>
          </p:nvPr>
        </p:nvSpPr>
        <p:spPr>
          <a:xfrm>
            <a:off x="605348" y="736735"/>
            <a:ext cx="3700462" cy="22225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Add your image her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3"/>
          <p:cNvSpPr>
            <a:spLocks noGrp="1"/>
          </p:cNvSpPr>
          <p:nvPr>
            <p:ph type="body" sz="quarter" idx="14" hasCustomPrompt="1"/>
          </p:nvPr>
        </p:nvSpPr>
        <p:spPr>
          <a:xfrm>
            <a:off x="4775200" y="3570837"/>
            <a:ext cx="3581400" cy="2803525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>
              <a:buNone/>
              <a:defRPr sz="20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 noProof="0" dirty="0" smtClean="0"/>
              <a:t>Click here to add text</a:t>
            </a:r>
            <a:endParaRPr lang="en-GB" noProof="0" dirty="0"/>
          </a:p>
        </p:txBody>
      </p:sp>
      <p:sp>
        <p:nvSpPr>
          <p:cNvPr id="11" name="Titre 1"/>
          <p:cNvSpPr>
            <a:spLocks noGrp="1"/>
          </p:cNvSpPr>
          <p:nvPr>
            <p:ph type="ctrTitle" hasCustomPrompt="1"/>
          </p:nvPr>
        </p:nvSpPr>
        <p:spPr>
          <a:xfrm>
            <a:off x="825502" y="524370"/>
            <a:ext cx="3581397" cy="2803029"/>
          </a:xfrm>
          <a:solidFill>
            <a:schemeClr val="tx1"/>
          </a:solidFill>
          <a:ln>
            <a:noFill/>
          </a:ln>
        </p:spPr>
        <p:txBody>
          <a:bodyPr anchor="t">
            <a:norm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text</a:t>
            </a:r>
            <a:endParaRPr lang="en-GB" noProof="0" dirty="0"/>
          </a:p>
        </p:txBody>
      </p:sp>
      <p:sp>
        <p:nvSpPr>
          <p:cNvPr id="14" name="Espace réservé du texte 13"/>
          <p:cNvSpPr>
            <a:spLocks noGrp="1"/>
          </p:cNvSpPr>
          <p:nvPr>
            <p:ph type="body" sz="quarter" idx="13" hasCustomPrompt="1"/>
          </p:nvPr>
        </p:nvSpPr>
        <p:spPr>
          <a:xfrm>
            <a:off x="4775200" y="524370"/>
            <a:ext cx="3581400" cy="2803525"/>
          </a:xfrm>
          <a:prstGeom prst="rect">
            <a:avLst/>
          </a:prstGeom>
          <a:solidFill>
            <a:schemeClr val="accent4">
              <a:alpha val="90000"/>
            </a:schemeClr>
          </a:solidFill>
        </p:spPr>
        <p:txBody>
          <a:bodyPr vert="horz"/>
          <a:lstStyle>
            <a:lvl1pPr>
              <a:buNone/>
              <a:defRPr sz="20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 noProof="0" dirty="0" smtClean="0"/>
              <a:t>Click here to add text</a:t>
            </a:r>
            <a:endParaRPr lang="en-GB" noProof="0" dirty="0"/>
          </a:p>
        </p:txBody>
      </p:sp>
      <p:sp>
        <p:nvSpPr>
          <p:cNvPr id="13" name="Espace réservé pour une image  12"/>
          <p:cNvSpPr>
            <a:spLocks noGrp="1"/>
          </p:cNvSpPr>
          <p:nvPr>
            <p:ph type="pic" sz="quarter" idx="15" hasCustomPrompt="1"/>
          </p:nvPr>
        </p:nvSpPr>
        <p:spPr>
          <a:xfrm>
            <a:off x="825500" y="3570288"/>
            <a:ext cx="3581400" cy="28035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/>
            </a:lvl1pPr>
          </a:lstStyle>
          <a:p>
            <a:r>
              <a:rPr lang="en-GB" noProof="0" dirty="0" smtClean="0"/>
              <a:t>Add your image here</a:t>
            </a:r>
            <a:endParaRPr lang="en-GB" noProof="0" dirty="0"/>
          </a:p>
        </p:txBody>
      </p:sp>
      <p:sp>
        <p:nvSpPr>
          <p:cNvPr id="6" name="Rectangle 5"/>
          <p:cNvSpPr/>
          <p:nvPr userDrawn="1"/>
        </p:nvSpPr>
        <p:spPr>
          <a:xfrm>
            <a:off x="8776005" y="6537250"/>
            <a:ext cx="147107" cy="14710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7" name="ZoneTexte 48"/>
          <p:cNvSpPr txBox="1"/>
          <p:nvPr userDrawn="1"/>
        </p:nvSpPr>
        <p:spPr>
          <a:xfrm>
            <a:off x="8633924" y="6499742"/>
            <a:ext cx="42862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6FC6BE-8529-4A40-BD32-6FBEF43C03E3}" type="slidenum">
              <a:rPr lang="en-GB" sz="700" noProof="0" smtClean="0">
                <a:solidFill>
                  <a:schemeClr val="bg1"/>
                </a:solidFill>
              </a:rPr>
              <a:pPr marL="0" marR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noProof="0" dirty="0" smtClean="0">
              <a:solidFill>
                <a:schemeClr val="bg1"/>
              </a:solidFill>
            </a:endParaRPr>
          </a:p>
          <a:p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297770" y="235479"/>
            <a:ext cx="6383866" cy="1500187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400" b="1" baseline="0">
                <a:solidFill>
                  <a:schemeClr val="accent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Pictures + bullet points – Click to add a title</a:t>
            </a:r>
          </a:p>
        </p:txBody>
      </p:sp>
      <p:sp>
        <p:nvSpPr>
          <p:cNvPr id="10" name="Espace réservé pour une image  9"/>
          <p:cNvSpPr>
            <a:spLocks noGrp="1"/>
          </p:cNvSpPr>
          <p:nvPr>
            <p:ph type="pic" sz="quarter" idx="14" hasCustomPrompt="1"/>
          </p:nvPr>
        </p:nvSpPr>
        <p:spPr>
          <a:xfrm>
            <a:off x="297770" y="2425700"/>
            <a:ext cx="4722963" cy="3695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solidFill>
                  <a:schemeClr val="accent4"/>
                </a:solidFill>
              </a:defRPr>
            </a:lvl1pPr>
          </a:lstStyle>
          <a:p>
            <a:r>
              <a:rPr lang="en-GB" noProof="0" dirty="0" smtClean="0"/>
              <a:t>Insert your image here</a:t>
            </a:r>
            <a:endParaRPr lang="en-GB" noProof="0" dirty="0"/>
          </a:p>
        </p:txBody>
      </p:sp>
      <p:sp>
        <p:nvSpPr>
          <p:cNvPr id="8" name="Rectangle 7"/>
          <p:cNvSpPr/>
          <p:nvPr userDrawn="1"/>
        </p:nvSpPr>
        <p:spPr>
          <a:xfrm>
            <a:off x="8776005" y="6537250"/>
            <a:ext cx="147107" cy="14710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9" name="ZoneTexte 48"/>
          <p:cNvSpPr txBox="1"/>
          <p:nvPr userDrawn="1"/>
        </p:nvSpPr>
        <p:spPr>
          <a:xfrm>
            <a:off x="8635245" y="6507392"/>
            <a:ext cx="42862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6FC6BE-8529-4A40-BD32-6FBEF43C03E3}" type="slidenum">
              <a:rPr lang="en-GB" sz="700" noProof="0" smtClean="0">
                <a:solidFill>
                  <a:schemeClr val="bg1"/>
                </a:solidFill>
              </a:rPr>
              <a:pPr marL="0" marR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noProof="0" dirty="0" smtClean="0">
              <a:solidFill>
                <a:schemeClr val="bg1"/>
              </a:solidFill>
            </a:endParaRPr>
          </a:p>
          <a:p>
            <a:endParaRPr lang="en-GB" noProof="0" dirty="0"/>
          </a:p>
        </p:txBody>
      </p:sp>
      <p:pic>
        <p:nvPicPr>
          <p:cNvPr id="12" name="Image 7" descr="CER Logo_Main_transparency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87944" y="218266"/>
            <a:ext cx="1372134" cy="670905"/>
          </a:xfrm>
          <a:prstGeom prst="rect">
            <a:avLst/>
          </a:prstGeom>
        </p:spPr>
      </p:pic>
      <p:sp>
        <p:nvSpPr>
          <p:cNvPr id="14" name="Espace réservé du contenu 14"/>
          <p:cNvSpPr>
            <a:spLocks noGrp="1"/>
          </p:cNvSpPr>
          <p:nvPr>
            <p:ph sz="quarter" idx="15" hasCustomPrompt="1"/>
          </p:nvPr>
        </p:nvSpPr>
        <p:spPr>
          <a:xfrm>
            <a:off x="5249333" y="2425701"/>
            <a:ext cx="3385912" cy="3695700"/>
          </a:xfrm>
          <a:prstGeom prst="rect">
            <a:avLst/>
          </a:prstGeom>
        </p:spPr>
        <p:txBody>
          <a:bodyPr vert="horz"/>
          <a:lstStyle>
            <a:lvl1pPr>
              <a:buClr>
                <a:schemeClr val="accent4"/>
              </a:buClr>
              <a:buFont typeface="Wingdings" charset="2"/>
              <a:buChar char="§"/>
              <a:defRPr sz="2000">
                <a:solidFill>
                  <a:srgbClr val="3C5C87"/>
                </a:solidFill>
              </a:defRPr>
            </a:lvl1pPr>
            <a:lvl2pPr>
              <a:buClr>
                <a:schemeClr val="accent4"/>
              </a:buClr>
              <a:buFont typeface="Wingdings" charset="2"/>
              <a:buChar char="§"/>
              <a:defRPr sz="1400">
                <a:solidFill>
                  <a:srgbClr val="3C5C87"/>
                </a:solidFill>
              </a:defRPr>
            </a:lvl2pPr>
            <a:lvl3pPr marL="914400" indent="0">
              <a:buClr>
                <a:schemeClr val="accent4"/>
              </a:buClr>
              <a:buFont typeface="Wingdings" charset="2"/>
              <a:buNone/>
              <a:defRPr sz="1600">
                <a:solidFill>
                  <a:srgbClr val="3C5C87"/>
                </a:solidFill>
              </a:defRPr>
            </a:lvl3pPr>
            <a:lvl4pPr>
              <a:buClr>
                <a:schemeClr val="accent4"/>
              </a:buClr>
              <a:buFont typeface="Wingdings" charset="2"/>
              <a:buChar char="§"/>
              <a:defRPr sz="1400">
                <a:solidFill>
                  <a:srgbClr val="3C5C87"/>
                </a:solidFill>
              </a:defRPr>
            </a:lvl4pPr>
            <a:lvl5pPr>
              <a:buClr>
                <a:schemeClr val="accent4"/>
              </a:buClr>
              <a:buFont typeface="Wingdings" charset="2"/>
              <a:buChar char="§"/>
              <a:defRPr sz="1200">
                <a:solidFill>
                  <a:srgbClr val="3C5C87"/>
                </a:solidFill>
              </a:defRPr>
            </a:lvl5pPr>
          </a:lstStyle>
          <a:p>
            <a:pPr lvl="0"/>
            <a:r>
              <a:rPr lang="en-GB" noProof="0" dirty="0" smtClean="0"/>
              <a:t>Text</a:t>
            </a:r>
          </a:p>
          <a:p>
            <a:pPr lvl="0"/>
            <a:r>
              <a:rPr lang="en-GB" noProof="0" dirty="0" smtClean="0"/>
              <a:t>Tex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Espace réservé du texte 31"/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5274733"/>
            <a:ext cx="1295400" cy="364067"/>
          </a:xfrm>
          <a:prstGeom prst="rect">
            <a:avLst/>
          </a:prstGeom>
          <a:solidFill>
            <a:schemeClr val="accent4"/>
          </a:solidFill>
        </p:spPr>
        <p:txBody>
          <a:bodyPr vert="horz"/>
          <a:lstStyle>
            <a:lvl1pPr>
              <a:buNone/>
              <a:defRPr sz="14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 noProof="0" smtClean="0"/>
              <a:t>2014 – Q4</a:t>
            </a:r>
            <a:endParaRPr lang="en-GB" noProof="0"/>
          </a:p>
        </p:txBody>
      </p:sp>
      <p:sp>
        <p:nvSpPr>
          <p:cNvPr id="15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262467" y="170257"/>
            <a:ext cx="6383866" cy="92789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400" b="1" baseline="0">
                <a:solidFill>
                  <a:schemeClr val="accent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Example of timeline 1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1735658" y="5816601"/>
            <a:ext cx="1233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noProof="0" dirty="0" smtClean="0">
                <a:solidFill>
                  <a:schemeClr val="bg1"/>
                </a:solidFill>
              </a:rPr>
              <a:t>2014 – Q2</a:t>
            </a:r>
            <a:endParaRPr lang="en-GB" sz="1400" noProof="0" dirty="0">
              <a:solidFill>
                <a:schemeClr val="bg1"/>
              </a:solidFill>
            </a:endParaRPr>
          </a:p>
        </p:txBody>
      </p:sp>
      <p:sp>
        <p:nvSpPr>
          <p:cNvPr id="24" name="ZoneTexte 23"/>
          <p:cNvSpPr txBox="1"/>
          <p:nvPr/>
        </p:nvSpPr>
        <p:spPr>
          <a:xfrm>
            <a:off x="3626383" y="5290170"/>
            <a:ext cx="1233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noProof="0" dirty="0" smtClean="0">
                <a:solidFill>
                  <a:schemeClr val="bg1"/>
                </a:solidFill>
              </a:rPr>
              <a:t>2014 – Q4</a:t>
            </a:r>
            <a:endParaRPr lang="en-GB" sz="1400" noProof="0" dirty="0">
              <a:solidFill>
                <a:schemeClr val="bg1"/>
              </a:solidFill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4531259" y="5816601"/>
            <a:ext cx="1233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noProof="0" dirty="0" smtClean="0">
                <a:solidFill>
                  <a:schemeClr val="bg1"/>
                </a:solidFill>
              </a:rPr>
              <a:t>2015 – Q1</a:t>
            </a:r>
            <a:endParaRPr lang="en-GB" sz="1400" noProof="0" dirty="0">
              <a:solidFill>
                <a:schemeClr val="bg1"/>
              </a:solidFill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7062792" y="5298637"/>
            <a:ext cx="12334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noProof="0" dirty="0" smtClean="0">
                <a:solidFill>
                  <a:schemeClr val="bg1"/>
                </a:solidFill>
              </a:rPr>
              <a:t>2015 – Q3</a:t>
            </a:r>
            <a:endParaRPr lang="en-GB" sz="1400" noProof="0" dirty="0">
              <a:solidFill>
                <a:schemeClr val="bg1"/>
              </a:solidFill>
            </a:endParaRPr>
          </a:p>
        </p:txBody>
      </p:sp>
      <p:sp>
        <p:nvSpPr>
          <p:cNvPr id="32" name="Espace réservé du texte 31"/>
          <p:cNvSpPr>
            <a:spLocks noGrp="1"/>
          </p:cNvSpPr>
          <p:nvPr>
            <p:ph type="body" sz="quarter" idx="19" hasCustomPrompt="1"/>
          </p:nvPr>
        </p:nvSpPr>
        <p:spPr>
          <a:xfrm>
            <a:off x="1081088" y="1584060"/>
            <a:ext cx="2379662" cy="1439863"/>
          </a:xfrm>
          <a:prstGeom prst="rect">
            <a:avLst/>
          </a:prstGeom>
          <a:solidFill>
            <a:schemeClr val="tx1"/>
          </a:solidFill>
        </p:spPr>
        <p:txBody>
          <a:bodyPr vert="horz"/>
          <a:lstStyle>
            <a:lvl1pPr>
              <a:buNone/>
              <a:defRPr sz="14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 noProof="0" dirty="0" smtClean="0"/>
              <a:t>Text here</a:t>
            </a:r>
            <a:endParaRPr lang="en-GB" noProof="0" dirty="0"/>
          </a:p>
        </p:txBody>
      </p:sp>
      <p:sp>
        <p:nvSpPr>
          <p:cNvPr id="33" name="Espace réservé du texte 31"/>
          <p:cNvSpPr>
            <a:spLocks noGrp="1"/>
          </p:cNvSpPr>
          <p:nvPr>
            <p:ph type="body" sz="quarter" idx="20" hasCustomPrompt="1"/>
          </p:nvPr>
        </p:nvSpPr>
        <p:spPr>
          <a:xfrm>
            <a:off x="1779314" y="3276600"/>
            <a:ext cx="1675086" cy="1439863"/>
          </a:xfrm>
          <a:prstGeom prst="rect">
            <a:avLst/>
          </a:prstGeom>
          <a:solidFill>
            <a:schemeClr val="accent3"/>
          </a:solidFill>
        </p:spPr>
        <p:txBody>
          <a:bodyPr vert="horz"/>
          <a:lstStyle>
            <a:lvl1pPr>
              <a:buNone/>
              <a:defRPr sz="14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 noProof="0" smtClean="0"/>
              <a:t>Text here</a:t>
            </a:r>
            <a:endParaRPr lang="en-GB" noProof="0"/>
          </a:p>
        </p:txBody>
      </p:sp>
      <p:sp>
        <p:nvSpPr>
          <p:cNvPr id="38" name="Espace réservé du texte 31"/>
          <p:cNvSpPr>
            <a:spLocks noGrp="1"/>
          </p:cNvSpPr>
          <p:nvPr>
            <p:ph type="body" sz="quarter" idx="21" hasCustomPrompt="1"/>
          </p:nvPr>
        </p:nvSpPr>
        <p:spPr>
          <a:xfrm>
            <a:off x="4045223" y="1574800"/>
            <a:ext cx="2379662" cy="1439863"/>
          </a:xfrm>
          <a:prstGeom prst="rect">
            <a:avLst/>
          </a:prstGeom>
          <a:solidFill>
            <a:schemeClr val="accent3"/>
          </a:solidFill>
        </p:spPr>
        <p:txBody>
          <a:bodyPr vert="horz"/>
          <a:lstStyle>
            <a:lvl1pPr>
              <a:buNone/>
              <a:defRPr sz="14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 noProof="0" smtClean="0"/>
              <a:t>Text here</a:t>
            </a:r>
            <a:endParaRPr lang="en-GB" noProof="0"/>
          </a:p>
        </p:txBody>
      </p:sp>
      <p:sp>
        <p:nvSpPr>
          <p:cNvPr id="39" name="Espace réservé du texte 31"/>
          <p:cNvSpPr>
            <a:spLocks noGrp="1"/>
          </p:cNvSpPr>
          <p:nvPr>
            <p:ph type="body" sz="quarter" idx="22" hasCustomPrompt="1"/>
          </p:nvPr>
        </p:nvSpPr>
        <p:spPr>
          <a:xfrm>
            <a:off x="4749799" y="3276600"/>
            <a:ext cx="1675086" cy="1439863"/>
          </a:xfrm>
          <a:prstGeom prst="rect">
            <a:avLst/>
          </a:prstGeom>
          <a:solidFill>
            <a:schemeClr val="accent2"/>
          </a:solidFill>
        </p:spPr>
        <p:txBody>
          <a:bodyPr vert="horz"/>
          <a:lstStyle>
            <a:lvl1pPr>
              <a:buNone/>
              <a:defRPr sz="14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 noProof="0" smtClean="0"/>
              <a:t>Text here</a:t>
            </a:r>
            <a:endParaRPr lang="en-GB" noProof="0"/>
          </a:p>
        </p:txBody>
      </p:sp>
      <p:sp>
        <p:nvSpPr>
          <p:cNvPr id="41" name="Espace réservé du texte 31"/>
          <p:cNvSpPr>
            <a:spLocks noGrp="1"/>
          </p:cNvSpPr>
          <p:nvPr>
            <p:ph type="body" sz="quarter" idx="23" hasCustomPrompt="1"/>
          </p:nvPr>
        </p:nvSpPr>
        <p:spPr>
          <a:xfrm>
            <a:off x="6943992" y="1583267"/>
            <a:ext cx="1912142" cy="2302933"/>
          </a:xfrm>
          <a:prstGeom prst="rect">
            <a:avLst/>
          </a:prstGeom>
          <a:solidFill>
            <a:schemeClr val="accent6"/>
          </a:solidFill>
        </p:spPr>
        <p:txBody>
          <a:bodyPr vert="horz"/>
          <a:lstStyle>
            <a:lvl1pPr>
              <a:buNone/>
              <a:defRPr sz="14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 noProof="0" smtClean="0"/>
              <a:t>Text here</a:t>
            </a:r>
            <a:endParaRPr lang="en-GB" noProof="0"/>
          </a:p>
        </p:txBody>
      </p:sp>
      <p:sp>
        <p:nvSpPr>
          <p:cNvPr id="51" name="Espace réservé du texte 31"/>
          <p:cNvSpPr>
            <a:spLocks noGrp="1"/>
          </p:cNvSpPr>
          <p:nvPr>
            <p:ph type="body" sz="quarter" idx="25" hasCustomPrompt="1"/>
          </p:nvPr>
        </p:nvSpPr>
        <p:spPr>
          <a:xfrm>
            <a:off x="1735658" y="5816601"/>
            <a:ext cx="1295400" cy="364067"/>
          </a:xfrm>
          <a:prstGeom prst="rect">
            <a:avLst/>
          </a:prstGeom>
          <a:solidFill>
            <a:schemeClr val="accent4"/>
          </a:solidFill>
        </p:spPr>
        <p:txBody>
          <a:bodyPr vert="horz"/>
          <a:lstStyle>
            <a:lvl1pPr>
              <a:buNone/>
              <a:defRPr sz="14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 noProof="0" smtClean="0"/>
              <a:t>2014 – Q2</a:t>
            </a:r>
            <a:endParaRPr lang="en-GB" noProof="0"/>
          </a:p>
        </p:txBody>
      </p:sp>
      <p:sp>
        <p:nvSpPr>
          <p:cNvPr id="52" name="Espace réservé du texte 31"/>
          <p:cNvSpPr>
            <a:spLocks noGrp="1"/>
          </p:cNvSpPr>
          <p:nvPr>
            <p:ph type="body" sz="quarter" idx="26" hasCustomPrompt="1"/>
          </p:nvPr>
        </p:nvSpPr>
        <p:spPr>
          <a:xfrm>
            <a:off x="3362336" y="5242347"/>
            <a:ext cx="1295400" cy="364067"/>
          </a:xfrm>
          <a:prstGeom prst="rect">
            <a:avLst/>
          </a:prstGeom>
          <a:solidFill>
            <a:schemeClr val="accent4"/>
          </a:solidFill>
        </p:spPr>
        <p:txBody>
          <a:bodyPr vert="horz"/>
          <a:lstStyle>
            <a:lvl1pPr>
              <a:buNone/>
              <a:defRPr sz="14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 noProof="0" smtClean="0"/>
              <a:t>2014 – Q4</a:t>
            </a:r>
            <a:endParaRPr lang="en-GB" noProof="0"/>
          </a:p>
        </p:txBody>
      </p:sp>
      <p:sp>
        <p:nvSpPr>
          <p:cNvPr id="53" name="Espace réservé du texte 31"/>
          <p:cNvSpPr>
            <a:spLocks noGrp="1"/>
          </p:cNvSpPr>
          <p:nvPr>
            <p:ph type="body" sz="quarter" idx="27" hasCustomPrompt="1"/>
          </p:nvPr>
        </p:nvSpPr>
        <p:spPr>
          <a:xfrm>
            <a:off x="4531259" y="5760311"/>
            <a:ext cx="1295400" cy="364067"/>
          </a:xfrm>
          <a:prstGeom prst="rect">
            <a:avLst/>
          </a:prstGeom>
          <a:solidFill>
            <a:schemeClr val="accent4"/>
          </a:solidFill>
        </p:spPr>
        <p:txBody>
          <a:bodyPr vert="horz"/>
          <a:lstStyle>
            <a:lvl1pPr>
              <a:buNone/>
              <a:defRPr sz="14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 noProof="0" smtClean="0"/>
              <a:t>2014 – Q1</a:t>
            </a:r>
            <a:endParaRPr lang="en-GB" noProof="0"/>
          </a:p>
        </p:txBody>
      </p:sp>
      <p:sp>
        <p:nvSpPr>
          <p:cNvPr id="61" name="Espace réservé du texte 31"/>
          <p:cNvSpPr>
            <a:spLocks noGrp="1"/>
          </p:cNvSpPr>
          <p:nvPr>
            <p:ph type="body" sz="quarter" idx="28" hasCustomPrompt="1"/>
          </p:nvPr>
        </p:nvSpPr>
        <p:spPr>
          <a:xfrm>
            <a:off x="6851929" y="5285938"/>
            <a:ext cx="1295400" cy="364067"/>
          </a:xfrm>
          <a:prstGeom prst="rect">
            <a:avLst/>
          </a:prstGeom>
          <a:solidFill>
            <a:schemeClr val="accent4"/>
          </a:solidFill>
        </p:spPr>
        <p:txBody>
          <a:bodyPr vert="horz"/>
          <a:lstStyle>
            <a:lvl1pPr>
              <a:buNone/>
              <a:defRPr sz="14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 noProof="0" smtClean="0"/>
              <a:t>2015 – Q2</a:t>
            </a:r>
            <a:endParaRPr lang="en-GB" noProof="0"/>
          </a:p>
        </p:txBody>
      </p:sp>
      <p:sp>
        <p:nvSpPr>
          <p:cNvPr id="31" name="Rectangle 30"/>
          <p:cNvSpPr/>
          <p:nvPr userDrawn="1"/>
        </p:nvSpPr>
        <p:spPr>
          <a:xfrm>
            <a:off x="8776005" y="6537250"/>
            <a:ext cx="147107" cy="14710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5" name="ZoneTexte 48"/>
          <p:cNvSpPr txBox="1"/>
          <p:nvPr userDrawn="1"/>
        </p:nvSpPr>
        <p:spPr>
          <a:xfrm>
            <a:off x="8635245" y="6507392"/>
            <a:ext cx="42862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6FC6BE-8529-4A40-BD32-6FBEF43C03E3}" type="slidenum">
              <a:rPr lang="en-GB" sz="700" noProof="0" smtClean="0">
                <a:solidFill>
                  <a:schemeClr val="bg1"/>
                </a:solidFill>
              </a:rPr>
              <a:pPr marL="0" marR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noProof="0" dirty="0" smtClean="0">
              <a:solidFill>
                <a:schemeClr val="bg1"/>
              </a:solidFill>
            </a:endParaRPr>
          </a:p>
          <a:p>
            <a:endParaRPr lang="en-GB" noProof="0" dirty="0"/>
          </a:p>
        </p:txBody>
      </p:sp>
      <p:pic>
        <p:nvPicPr>
          <p:cNvPr id="47" name="Image 7" descr="CER Logo_Main_transparency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87944" y="218266"/>
            <a:ext cx="1372134" cy="67090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262467" y="170257"/>
            <a:ext cx="6383866" cy="92789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400" b="1" baseline="0">
                <a:solidFill>
                  <a:schemeClr val="accent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Example of timeline 2</a:t>
            </a:r>
          </a:p>
        </p:txBody>
      </p:sp>
      <p:pic>
        <p:nvPicPr>
          <p:cNvPr id="4" name="Image 7" descr="CER Logo_Main_transparency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87944" y="218266"/>
            <a:ext cx="1372134" cy="670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348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_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3" hasCustomPrompt="1"/>
          </p:nvPr>
        </p:nvSpPr>
        <p:spPr>
          <a:xfrm>
            <a:off x="262467" y="170257"/>
            <a:ext cx="6383866" cy="118441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3400" b="1" baseline="0">
                <a:solidFill>
                  <a:schemeClr val="accent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SmartArt – Click to add a title</a:t>
            </a:r>
          </a:p>
        </p:txBody>
      </p:sp>
      <p:pic>
        <p:nvPicPr>
          <p:cNvPr id="4" name="Image 7" descr="CER Logo_Main_transparency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87944" y="218266"/>
            <a:ext cx="1372134" cy="670905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8776005" y="6537250"/>
            <a:ext cx="147107" cy="14710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6" name="ZoneTexte 48"/>
          <p:cNvSpPr txBox="1"/>
          <p:nvPr userDrawn="1"/>
        </p:nvSpPr>
        <p:spPr>
          <a:xfrm>
            <a:off x="8633924" y="6499742"/>
            <a:ext cx="42862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6FC6BE-8529-4A40-BD32-6FBEF43C03E3}" type="slidenum">
              <a:rPr lang="en-GB" sz="700" noProof="0" smtClean="0">
                <a:solidFill>
                  <a:schemeClr val="bg1"/>
                </a:solidFill>
              </a:rPr>
              <a:pPr marL="0" marR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noProof="0" dirty="0" smtClean="0">
              <a:solidFill>
                <a:schemeClr val="bg1"/>
              </a:solidFill>
            </a:endParaRPr>
          </a:p>
          <a:p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45859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 smtClean="0"/>
              <a:t>Click here to modify the title</a:t>
            </a:r>
            <a:endParaRPr lang="en-US" noProof="0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64" r:id="rId1"/>
    <p:sldLayoutId id="2147483675" r:id="rId2"/>
    <p:sldLayoutId id="2147483674" r:id="rId3"/>
    <p:sldLayoutId id="2147483668" r:id="rId4"/>
    <p:sldLayoutId id="2147483669" r:id="rId5"/>
    <p:sldLayoutId id="2147483670" r:id="rId6"/>
    <p:sldLayoutId id="2147483671" r:id="rId7"/>
    <p:sldLayoutId id="2147483676" r:id="rId8"/>
    <p:sldLayoutId id="2147483677" r:id="rId9"/>
    <p:sldLayoutId id="2147483679" r:id="rId10"/>
    <p:sldLayoutId id="2147483678" r:id="rId11"/>
    <p:sldLayoutId id="2147483672" r:id="rId12"/>
    <p:sldLayoutId id="2147483680" r:id="rId13"/>
    <p:sldLayoutId id="2147483681" r:id="rId14"/>
    <p:sldLayoutId id="2147483682" r:id="rId15"/>
    <p:sldLayoutId id="2147483683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jp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8" Type="http://schemas.openxmlformats.org/officeDocument/2006/relationships/tags" Target="../tags/tag8.xml"/><Relationship Id="rId3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3" Type="http://schemas.openxmlformats.org/officeDocument/2006/relationships/tags" Target="../tags/tag39.xml"/><Relationship Id="rId21" Type="http://schemas.openxmlformats.org/officeDocument/2006/relationships/tags" Target="../tags/tag57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tags" Target="../tags/tag59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13.xml"/><Relationship Id="rId1" Type="http://schemas.openxmlformats.org/officeDocument/2006/relationships/themeOverride" Target="../theme/themeOverride1.xml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hemeOverride" Target="../theme/themeOverride2.xml"/><Relationship Id="rId4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it-IT" dirty="0" smtClean="0"/>
              <a:t>An excursus on rail reform in the EU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5464" y="4496098"/>
            <a:ext cx="4312376" cy="365661"/>
          </a:xfrm>
        </p:spPr>
        <p:txBody>
          <a:bodyPr/>
          <a:lstStyle/>
          <a:p>
            <a:r>
              <a:rPr lang="en-US" dirty="0" smtClean="0"/>
              <a:t>27 November 2017, UNECE, Genev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5"/>
          </p:nvPr>
        </p:nvSpPr>
        <p:spPr>
          <a:xfrm>
            <a:off x="1265463" y="5270561"/>
            <a:ext cx="6600722" cy="408802"/>
          </a:xfrm>
        </p:spPr>
        <p:txBody>
          <a:bodyPr/>
          <a:lstStyle/>
          <a:p>
            <a:r>
              <a:rPr lang="en-US" dirty="0" smtClean="0"/>
              <a:t>Libor </a:t>
            </a:r>
            <a:r>
              <a:rPr lang="en-US" dirty="0" err="1" smtClean="0"/>
              <a:t>Lochman</a:t>
            </a:r>
            <a:r>
              <a:rPr lang="en-US" dirty="0" smtClean="0"/>
              <a:t>, CER Executive Direct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461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GB" sz="3200" dirty="0" smtClean="0"/>
              <a:t>The 4</a:t>
            </a:r>
            <a:r>
              <a:rPr lang="en-GB" sz="3200" baseline="30000" dirty="0" smtClean="0"/>
              <a:t>th</a:t>
            </a:r>
            <a:r>
              <a:rPr lang="en-GB" sz="3200" dirty="0" smtClean="0"/>
              <a:t> Railway Package: final piece of technical harmonisation and market opening to be implemented!</a:t>
            </a:r>
            <a:endParaRPr lang="en-GB" sz="3200" dirty="0"/>
          </a:p>
        </p:txBody>
      </p:sp>
      <p:grpSp>
        <p:nvGrpSpPr>
          <p:cNvPr id="3" name="Group 2"/>
          <p:cNvGrpSpPr/>
          <p:nvPr/>
        </p:nvGrpSpPr>
        <p:grpSpPr>
          <a:xfrm>
            <a:off x="248785" y="2435511"/>
            <a:ext cx="8514215" cy="4124206"/>
            <a:chOff x="381000" y="1106356"/>
            <a:chExt cx="8382000" cy="5782156"/>
          </a:xfrm>
        </p:grpSpPr>
        <p:grpSp>
          <p:nvGrpSpPr>
            <p:cNvPr id="5" name="Group 4"/>
            <p:cNvGrpSpPr/>
            <p:nvPr/>
          </p:nvGrpSpPr>
          <p:grpSpPr>
            <a:xfrm>
              <a:off x="1752600" y="3189982"/>
              <a:ext cx="2781300" cy="2667000"/>
              <a:chOff x="1028700" y="2209800"/>
              <a:chExt cx="3886200" cy="3962400"/>
            </a:xfrm>
          </p:grpSpPr>
          <p:sp>
            <p:nvSpPr>
              <p:cNvPr id="6" name="8-Point Star 5"/>
              <p:cNvSpPr/>
              <p:nvPr/>
            </p:nvSpPr>
            <p:spPr>
              <a:xfrm>
                <a:off x="2019300" y="3200400"/>
                <a:ext cx="1905000" cy="1981200"/>
              </a:xfrm>
              <a:prstGeom prst="star8">
                <a:avLst/>
              </a:prstGeom>
              <a:solidFill>
                <a:srgbClr val="005FAA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sp>
            <p:nvSpPr>
              <p:cNvPr id="7" name="Oval 6"/>
              <p:cNvSpPr/>
              <p:nvPr/>
            </p:nvSpPr>
            <p:spPr>
              <a:xfrm>
                <a:off x="2247900" y="3429000"/>
                <a:ext cx="1447800" cy="1524000"/>
              </a:xfrm>
              <a:prstGeom prst="ellipse">
                <a:avLst/>
              </a:prstGeom>
              <a:solidFill>
                <a:srgbClr val="005FAA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 smtClean="0">
                    <a:solidFill>
                      <a:schemeClr val="bg1"/>
                    </a:solidFill>
                    <a:latin typeface="Trebuchet MS" panose="020B0603020202020204" pitchFamily="34" charset="0"/>
                  </a:rPr>
                  <a:t>ERA</a:t>
                </a:r>
                <a:endParaRPr lang="en-US" dirty="0">
                  <a:solidFill>
                    <a:schemeClr val="bg1"/>
                  </a:solidFill>
                  <a:latin typeface="Trebuchet MS" panose="020B0603020202020204" pitchFamily="34" charset="0"/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2514600" y="2209800"/>
                <a:ext cx="914400" cy="914400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100" dirty="0" smtClean="0">
                    <a:solidFill>
                      <a:srgbClr val="005FAA"/>
                    </a:solidFill>
                    <a:latin typeface="Trebuchet MS" panose="020B0603020202020204" pitchFamily="34" charset="0"/>
                  </a:rPr>
                  <a:t>NSA</a:t>
                </a:r>
                <a:endParaRPr lang="en-US" sz="1100" dirty="0">
                  <a:solidFill>
                    <a:srgbClr val="005FAA"/>
                  </a:solidFill>
                  <a:latin typeface="Trebuchet MS" panose="020B0603020202020204" pitchFamily="34" charset="0"/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4000500" y="3733800"/>
                <a:ext cx="914400" cy="914400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100" dirty="0" smtClean="0">
                    <a:solidFill>
                      <a:srgbClr val="005FAA"/>
                    </a:solidFill>
                    <a:latin typeface="Trebuchet MS" panose="020B0603020202020204" pitchFamily="34" charset="0"/>
                  </a:rPr>
                  <a:t>NSA</a:t>
                </a:r>
                <a:endParaRPr lang="en-US" sz="1100" dirty="0">
                  <a:solidFill>
                    <a:srgbClr val="005FAA"/>
                  </a:solidFill>
                  <a:latin typeface="Trebuchet MS" panose="020B0603020202020204" pitchFamily="34" charset="0"/>
                </a:endParaRPr>
              </a:p>
            </p:txBody>
          </p:sp>
          <p:sp>
            <p:nvSpPr>
              <p:cNvPr id="10" name="Oval 9"/>
              <p:cNvSpPr/>
              <p:nvPr/>
            </p:nvSpPr>
            <p:spPr>
              <a:xfrm>
                <a:off x="2514600" y="5257800"/>
                <a:ext cx="914400" cy="914400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100" dirty="0" smtClean="0">
                    <a:solidFill>
                      <a:srgbClr val="005FAA"/>
                    </a:solidFill>
                    <a:latin typeface="Trebuchet MS" panose="020B0603020202020204" pitchFamily="34" charset="0"/>
                  </a:rPr>
                  <a:t>NSA</a:t>
                </a:r>
                <a:endParaRPr lang="en-US" sz="1100" dirty="0">
                  <a:solidFill>
                    <a:srgbClr val="005FAA"/>
                  </a:solidFill>
                  <a:latin typeface="Trebuchet MS" panose="020B0603020202020204" pitchFamily="34" charset="0"/>
                </a:endParaRPr>
              </a:p>
            </p:txBody>
          </p:sp>
          <p:sp>
            <p:nvSpPr>
              <p:cNvPr id="11" name="Oval 10"/>
              <p:cNvSpPr/>
              <p:nvPr/>
            </p:nvSpPr>
            <p:spPr>
              <a:xfrm>
                <a:off x="1028700" y="3733800"/>
                <a:ext cx="914400" cy="914400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100" dirty="0" smtClean="0">
                    <a:solidFill>
                      <a:srgbClr val="005FAA"/>
                    </a:solidFill>
                    <a:latin typeface="Trebuchet MS" panose="020B0603020202020204" pitchFamily="34" charset="0"/>
                  </a:rPr>
                  <a:t>NSA</a:t>
                </a:r>
                <a:endParaRPr lang="en-US" sz="1100" dirty="0">
                  <a:solidFill>
                    <a:srgbClr val="005FAA"/>
                  </a:solidFill>
                  <a:latin typeface="Trebuchet MS" panose="020B0603020202020204" pitchFamily="34" charset="0"/>
                </a:endParaRPr>
              </a:p>
            </p:txBody>
          </p:sp>
          <p:sp>
            <p:nvSpPr>
              <p:cNvPr id="12" name="Oval 11"/>
              <p:cNvSpPr/>
              <p:nvPr/>
            </p:nvSpPr>
            <p:spPr>
              <a:xfrm>
                <a:off x="1447800" y="2667000"/>
                <a:ext cx="914400" cy="914400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100" dirty="0" smtClean="0">
                    <a:solidFill>
                      <a:srgbClr val="005FAA"/>
                    </a:solidFill>
                    <a:latin typeface="Trebuchet MS" panose="020B0603020202020204" pitchFamily="34" charset="0"/>
                  </a:rPr>
                  <a:t>NSA</a:t>
                </a:r>
                <a:endParaRPr lang="en-US" sz="1100" dirty="0">
                  <a:solidFill>
                    <a:srgbClr val="005FAA"/>
                  </a:solidFill>
                  <a:latin typeface="Trebuchet MS" panose="020B0603020202020204" pitchFamily="34" charset="0"/>
                </a:endParaRP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3581400" y="2667000"/>
                <a:ext cx="914400" cy="914400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100" dirty="0" smtClean="0">
                    <a:solidFill>
                      <a:srgbClr val="005FAA"/>
                    </a:solidFill>
                    <a:latin typeface="Trebuchet MS" panose="020B0603020202020204" pitchFamily="34" charset="0"/>
                  </a:rPr>
                  <a:t>NSA</a:t>
                </a:r>
                <a:endParaRPr lang="en-US" sz="1100" dirty="0">
                  <a:solidFill>
                    <a:srgbClr val="005FAA"/>
                  </a:solidFill>
                  <a:latin typeface="Trebuchet MS" panose="020B0603020202020204" pitchFamily="34" charset="0"/>
                </a:endParaRP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3581400" y="4800600"/>
                <a:ext cx="914400" cy="914400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100" dirty="0" smtClean="0">
                    <a:solidFill>
                      <a:srgbClr val="005FAA"/>
                    </a:solidFill>
                    <a:latin typeface="Trebuchet MS" panose="020B0603020202020204" pitchFamily="34" charset="0"/>
                  </a:rPr>
                  <a:t>NSA</a:t>
                </a:r>
                <a:endParaRPr lang="en-US" sz="1100" dirty="0">
                  <a:solidFill>
                    <a:srgbClr val="005FAA"/>
                  </a:solidFill>
                  <a:latin typeface="Trebuchet MS" panose="020B0603020202020204" pitchFamily="34" charset="0"/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1447800" y="4800600"/>
                <a:ext cx="914400" cy="914400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100" dirty="0" smtClean="0">
                    <a:solidFill>
                      <a:srgbClr val="005FAA"/>
                    </a:solidFill>
                    <a:latin typeface="Trebuchet MS" panose="020B0603020202020204" pitchFamily="34" charset="0"/>
                  </a:rPr>
                  <a:t>NSA</a:t>
                </a:r>
                <a:endParaRPr lang="en-US" sz="1100" dirty="0">
                  <a:solidFill>
                    <a:srgbClr val="005FAA"/>
                  </a:solidFill>
                  <a:latin typeface="Trebuchet MS" panose="020B0603020202020204" pitchFamily="34" charset="0"/>
                </a:endParaRPr>
              </a:p>
            </p:txBody>
          </p:sp>
        </p:grpSp>
        <p:sp>
          <p:nvSpPr>
            <p:cNvPr id="16" name="Oval 15"/>
            <p:cNvSpPr/>
            <p:nvPr/>
          </p:nvSpPr>
          <p:spPr>
            <a:xfrm>
              <a:off x="1524000" y="3037582"/>
              <a:ext cx="3200400" cy="2971800"/>
            </a:xfrm>
            <a:prstGeom prst="ellipse">
              <a:avLst/>
            </a:prstGeom>
            <a:noFill/>
            <a:ln w="381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7" name="Oval 16"/>
            <p:cNvSpPr/>
            <p:nvPr/>
          </p:nvSpPr>
          <p:spPr>
            <a:xfrm>
              <a:off x="729429" y="1752600"/>
              <a:ext cx="4827642" cy="4495799"/>
            </a:xfrm>
            <a:prstGeom prst="ellipse">
              <a:avLst/>
            </a:prstGeom>
            <a:noFill/>
            <a:ln w="38100">
              <a:solidFill>
                <a:srgbClr val="71C0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8" name="Oval 17"/>
            <p:cNvSpPr/>
            <p:nvPr/>
          </p:nvSpPr>
          <p:spPr>
            <a:xfrm>
              <a:off x="2160494" y="1854444"/>
              <a:ext cx="1927412" cy="1080561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71C0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100" dirty="0" smtClean="0">
                  <a:solidFill>
                    <a:srgbClr val="71C012"/>
                  </a:solidFill>
                  <a:latin typeface="Trebuchet MS" panose="020B0603020202020204" pitchFamily="34" charset="0"/>
                </a:rPr>
                <a:t>Revised Directive 2012/34 and PSO Regulation</a:t>
              </a:r>
              <a:endParaRPr lang="en-US" sz="1100" dirty="0">
                <a:solidFill>
                  <a:srgbClr val="71C012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19" name="Line Callout 2 (Accent Bar) 18"/>
            <p:cNvSpPr/>
            <p:nvPr/>
          </p:nvSpPr>
          <p:spPr>
            <a:xfrm>
              <a:off x="381000" y="5805634"/>
              <a:ext cx="1371600" cy="612648"/>
            </a:xfrm>
            <a:prstGeom prst="accentCallout2">
              <a:avLst>
                <a:gd name="adj1" fmla="val 25790"/>
                <a:gd name="adj2" fmla="val 85378"/>
                <a:gd name="adj3" fmla="val 28606"/>
                <a:gd name="adj4" fmla="val 132389"/>
                <a:gd name="adj5" fmla="val 13936"/>
                <a:gd name="adj6" fmla="val 137610"/>
              </a:avLst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1400" dirty="0" smtClean="0">
                  <a:solidFill>
                    <a:srgbClr val="005FAA"/>
                  </a:solidFill>
                  <a:latin typeface="Trebuchet MS" panose="020B0603020202020204" pitchFamily="34" charset="0"/>
                </a:rPr>
                <a:t>Safety &amp; Interop Directives + new ERA Regulation</a:t>
              </a:r>
              <a:endParaRPr lang="en-US" sz="1400" dirty="0">
                <a:solidFill>
                  <a:srgbClr val="005FAA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20" name="Line Callout 2 (Accent Bar) 19"/>
            <p:cNvSpPr/>
            <p:nvPr/>
          </p:nvSpPr>
          <p:spPr>
            <a:xfrm>
              <a:off x="381000" y="1241797"/>
              <a:ext cx="1528201" cy="612648"/>
            </a:xfrm>
            <a:prstGeom prst="accentCallout2">
              <a:avLst>
                <a:gd name="adj1" fmla="val 26145"/>
                <a:gd name="adj2" fmla="val 91107"/>
                <a:gd name="adj3" fmla="val 22974"/>
                <a:gd name="adj4" fmla="val 90880"/>
                <a:gd name="adj5" fmla="val 89990"/>
                <a:gd name="adj6" fmla="val 106326"/>
              </a:avLst>
            </a:prstGeom>
            <a:noFill/>
            <a:ln>
              <a:solidFill>
                <a:srgbClr val="71C0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it-IT" sz="1600" dirty="0" smtClean="0">
                  <a:solidFill>
                    <a:srgbClr val="71C012"/>
                  </a:solidFill>
                  <a:latin typeface="Trebuchet MS" panose="020B0603020202020204" pitchFamily="34" charset="0"/>
                </a:rPr>
                <a:t>Market Pillar</a:t>
              </a:r>
              <a:endParaRPr lang="en-US" sz="1600" dirty="0">
                <a:solidFill>
                  <a:srgbClr val="71C012"/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21" name="Right Arrow 20"/>
            <p:cNvSpPr/>
            <p:nvPr/>
          </p:nvSpPr>
          <p:spPr>
            <a:xfrm>
              <a:off x="5106521" y="3758183"/>
              <a:ext cx="909918" cy="484632"/>
            </a:xfrm>
            <a:prstGeom prst="rightArrow">
              <a:avLst/>
            </a:prstGeom>
            <a:solidFill>
              <a:srgbClr val="B30F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324601" y="1106356"/>
              <a:ext cx="2438399" cy="578215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it-IT" sz="1600" dirty="0" smtClean="0">
                  <a:solidFill>
                    <a:srgbClr val="005FAA"/>
                  </a:solidFill>
                </a:rPr>
                <a:t>Higher competitive pressure</a:t>
              </a:r>
            </a:p>
            <a:p>
              <a:endParaRPr lang="it-IT" sz="1600" dirty="0">
                <a:solidFill>
                  <a:srgbClr val="005FAA"/>
                </a:solidFill>
              </a:endParaRPr>
            </a:p>
            <a:p>
              <a:r>
                <a:rPr lang="it-IT" sz="1600" dirty="0" smtClean="0">
                  <a:solidFill>
                    <a:srgbClr val="005FAA"/>
                  </a:solidFill>
                </a:rPr>
                <a:t>More legal certainty across borders</a:t>
              </a:r>
            </a:p>
            <a:p>
              <a:endParaRPr lang="it-IT" sz="1600" dirty="0" smtClean="0">
                <a:solidFill>
                  <a:srgbClr val="005FAA"/>
                </a:solidFill>
              </a:endParaRPr>
            </a:p>
            <a:p>
              <a:r>
                <a:rPr lang="it-IT" sz="1600" dirty="0" smtClean="0">
                  <a:solidFill>
                    <a:srgbClr val="005FAA"/>
                  </a:solidFill>
                </a:rPr>
                <a:t>Better environment for private investments</a:t>
              </a:r>
            </a:p>
            <a:p>
              <a:endParaRPr lang="it-IT" sz="1600" dirty="0">
                <a:solidFill>
                  <a:srgbClr val="005FAA"/>
                </a:solidFill>
              </a:endParaRPr>
            </a:p>
            <a:p>
              <a:r>
                <a:rPr lang="it-IT" sz="1600" dirty="0" smtClean="0">
                  <a:solidFill>
                    <a:srgbClr val="005FAA"/>
                  </a:solidFill>
                </a:rPr>
                <a:t>More standardisation achievab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12904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835302" y="1807437"/>
            <a:ext cx="3145220" cy="401507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Rectangle 7"/>
          <p:cNvSpPr/>
          <p:nvPr/>
        </p:nvSpPr>
        <p:spPr>
          <a:xfrm>
            <a:off x="1364961" y="2504109"/>
            <a:ext cx="2963917" cy="4012878"/>
          </a:xfrm>
          <a:prstGeom prst="rect">
            <a:avLst/>
          </a:prstGeom>
          <a:solidFill>
            <a:srgbClr val="A2E49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71808" y="391176"/>
            <a:ext cx="7712242" cy="689964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ct val="20000"/>
              </a:spcBef>
              <a:buFont typeface="Arial"/>
              <a:buNone/>
            </a:pPr>
            <a:r>
              <a:rPr lang="fr-BE" sz="3200" b="1" dirty="0" err="1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What’s</a:t>
            </a:r>
            <a:r>
              <a:rPr lang="fr-BE" sz="3200" b="1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3200" b="1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more </a:t>
            </a:r>
            <a:r>
              <a:rPr lang="fr-BE" sz="3200" b="1" dirty="0" err="1" smtClean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ahead</a:t>
            </a:r>
            <a:r>
              <a:rPr lang="fr-BE" sz="3200" b="1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3200" b="1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of us to </a:t>
            </a:r>
            <a:r>
              <a:rPr lang="fr-BE" sz="3200" b="1" dirty="0" err="1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boost</a:t>
            </a:r>
            <a:r>
              <a:rPr lang="fr-BE" sz="3200" b="1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 rail </a:t>
            </a:r>
            <a:r>
              <a:rPr lang="fr-BE" sz="3200" b="1" dirty="0" err="1" smtClean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competitiveness</a:t>
            </a:r>
            <a:r>
              <a:rPr lang="fr-BE" sz="3200" b="1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?</a:t>
            </a:r>
            <a:endParaRPr lang="en-US" sz="3200" b="1" dirty="0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56882" y="2760069"/>
            <a:ext cx="2893998" cy="3500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350" dirty="0"/>
          </a:p>
          <a:p>
            <a:r>
              <a:rPr lang="en-US" sz="1600" b="1" dirty="0"/>
              <a:t>Mobility Package</a:t>
            </a:r>
          </a:p>
          <a:p>
            <a:r>
              <a:rPr lang="en-US" sz="1600" dirty="0"/>
              <a:t>re: User- and Polluter-Pays Principle</a:t>
            </a:r>
          </a:p>
          <a:p>
            <a:endParaRPr lang="en-US" sz="1600" dirty="0"/>
          </a:p>
          <a:p>
            <a:r>
              <a:rPr lang="en-US" sz="1600" b="1" dirty="0"/>
              <a:t>EU fiscal and VAT policy</a:t>
            </a:r>
          </a:p>
          <a:p>
            <a:r>
              <a:rPr lang="en-US" sz="1600" dirty="0"/>
              <a:t>Redressing VAT imbalances</a:t>
            </a:r>
          </a:p>
          <a:p>
            <a:endParaRPr lang="en-US" sz="1600" dirty="0"/>
          </a:p>
          <a:p>
            <a:r>
              <a:rPr lang="en-US" sz="1600" b="1" dirty="0"/>
              <a:t>Passenger Rights</a:t>
            </a:r>
          </a:p>
          <a:p>
            <a:r>
              <a:rPr lang="en-US" sz="1600" dirty="0"/>
              <a:t>Redressing imbalances like </a:t>
            </a:r>
            <a:r>
              <a:rPr lang="en-US" sz="1600" i="1" dirty="0"/>
              <a:t>force </a:t>
            </a:r>
            <a:r>
              <a:rPr lang="en-US" sz="1600" i="1" dirty="0" err="1"/>
              <a:t>majeur</a:t>
            </a:r>
            <a:r>
              <a:rPr lang="en-US" sz="1600" i="1" dirty="0"/>
              <a:t> </a:t>
            </a:r>
            <a:r>
              <a:rPr lang="en-US" sz="1600" dirty="0"/>
              <a:t>applicatio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863360" y="1945229"/>
            <a:ext cx="2893998" cy="3739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 err="1">
                <a:solidFill>
                  <a:srgbClr val="A2000C"/>
                </a:solidFill>
              </a:rPr>
              <a:t>Digitalisation</a:t>
            </a:r>
            <a:r>
              <a:rPr lang="en-US" sz="1400" b="1" dirty="0">
                <a:solidFill>
                  <a:srgbClr val="A2000C"/>
                </a:solidFill>
              </a:rPr>
              <a:t> of operations</a:t>
            </a:r>
          </a:p>
          <a:p>
            <a:pPr algn="r"/>
            <a:r>
              <a:rPr lang="en-US" sz="1400" dirty="0">
                <a:solidFill>
                  <a:srgbClr val="A2000C"/>
                </a:solidFill>
              </a:rPr>
              <a:t>For ticketing &amp; info to customers, train tracking, etc.</a:t>
            </a:r>
          </a:p>
          <a:p>
            <a:pPr algn="r"/>
            <a:endParaRPr lang="en-US" sz="1400" dirty="0">
              <a:solidFill>
                <a:srgbClr val="A2000C"/>
              </a:solidFill>
            </a:endParaRPr>
          </a:p>
          <a:p>
            <a:pPr algn="r"/>
            <a:r>
              <a:rPr lang="en-US" sz="1400" b="1" dirty="0">
                <a:solidFill>
                  <a:srgbClr val="A2000C"/>
                </a:solidFill>
              </a:rPr>
              <a:t>ERTMS</a:t>
            </a:r>
          </a:p>
          <a:p>
            <a:pPr algn="r"/>
            <a:r>
              <a:rPr lang="en-US" sz="1400" dirty="0">
                <a:solidFill>
                  <a:srgbClr val="A2000C"/>
                </a:solidFill>
              </a:rPr>
              <a:t>Implementation and migration</a:t>
            </a:r>
          </a:p>
          <a:p>
            <a:pPr algn="r"/>
            <a:endParaRPr lang="en-US" sz="1400" dirty="0">
              <a:solidFill>
                <a:srgbClr val="A2000C"/>
              </a:solidFill>
            </a:endParaRPr>
          </a:p>
          <a:p>
            <a:pPr algn="r"/>
            <a:r>
              <a:rPr lang="en-US" sz="1400" b="1" dirty="0">
                <a:solidFill>
                  <a:srgbClr val="A2000C"/>
                </a:solidFill>
              </a:rPr>
              <a:t>Research &amp; Development</a:t>
            </a:r>
          </a:p>
          <a:p>
            <a:pPr algn="r"/>
            <a:r>
              <a:rPr lang="en-US" sz="1400" dirty="0">
                <a:solidFill>
                  <a:srgbClr val="A2000C"/>
                </a:solidFill>
              </a:rPr>
              <a:t>S2R and S2R2 topics</a:t>
            </a:r>
          </a:p>
          <a:p>
            <a:pPr algn="r"/>
            <a:endParaRPr lang="en-US" sz="1400" dirty="0">
              <a:solidFill>
                <a:srgbClr val="A2000C"/>
              </a:solidFill>
            </a:endParaRPr>
          </a:p>
          <a:p>
            <a:pPr algn="r"/>
            <a:r>
              <a:rPr lang="en-US" sz="1400" b="1" dirty="0">
                <a:solidFill>
                  <a:srgbClr val="A2000C"/>
                </a:solidFill>
              </a:rPr>
              <a:t>Functional specifics for rolling stock procurement</a:t>
            </a:r>
          </a:p>
          <a:p>
            <a:pPr algn="r"/>
            <a:r>
              <a:rPr lang="en-US" sz="1400" dirty="0">
                <a:solidFill>
                  <a:srgbClr val="A2000C"/>
                </a:solidFill>
              </a:rPr>
              <a:t>Definition of EU-wide specifics</a:t>
            </a:r>
          </a:p>
          <a:p>
            <a:pPr algn="r"/>
            <a:endParaRPr lang="en-US" sz="1350" dirty="0">
              <a:solidFill>
                <a:srgbClr val="A2000C"/>
              </a:solidFill>
            </a:endParaRPr>
          </a:p>
          <a:p>
            <a:pPr algn="r"/>
            <a:endParaRPr lang="en-US" sz="1350" dirty="0">
              <a:solidFill>
                <a:srgbClr val="A2000C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 rot="20274323">
            <a:off x="134393" y="2059879"/>
            <a:ext cx="2288960" cy="67378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 smtClean="0"/>
              <a:t>Intermodality</a:t>
            </a:r>
            <a:endParaRPr lang="en-US" sz="1400" b="1" dirty="0"/>
          </a:p>
        </p:txBody>
      </p:sp>
      <p:sp>
        <p:nvSpPr>
          <p:cNvPr id="12" name="Oval 11"/>
          <p:cNvSpPr/>
          <p:nvPr/>
        </p:nvSpPr>
        <p:spPr>
          <a:xfrm rot="20274323">
            <a:off x="6311015" y="5585442"/>
            <a:ext cx="2168071" cy="543764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Sector’s initiatives</a:t>
            </a:r>
          </a:p>
        </p:txBody>
      </p:sp>
    </p:spTree>
    <p:extLst>
      <p:ext uri="{BB962C8B-B14F-4D97-AF65-F5344CB8AC3E}">
        <p14:creationId xmlns:p14="http://schemas.microsoft.com/office/powerpoint/2010/main" val="4259200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be 3"/>
          <p:cNvSpPr/>
          <p:nvPr/>
        </p:nvSpPr>
        <p:spPr>
          <a:xfrm>
            <a:off x="2752978" y="4909009"/>
            <a:ext cx="3687983" cy="1242392"/>
          </a:xfrm>
          <a:prstGeom prst="cube">
            <a:avLst>
              <a:gd name="adj" fmla="val 11676"/>
            </a:avLst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ble regulation after</a:t>
            </a:r>
          </a:p>
          <a:p>
            <a:pPr algn="ctr"/>
            <a:r>
              <a:rPr lang="en-GB" sz="20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4RP implem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7458" y="477206"/>
            <a:ext cx="7333342" cy="530915"/>
          </a:xfrm>
        </p:spPr>
        <p:txBody>
          <a:bodyPr vert="horz" lIns="68580" tIns="34290" rIns="68580" bIns="34290" rtlCol="0" anchor="t">
            <a:noAutofit/>
          </a:bodyPr>
          <a:lstStyle/>
          <a:p>
            <a:pPr algn="l">
              <a:spcBef>
                <a:spcPct val="20000"/>
              </a:spcBef>
              <a:buFont typeface="Arial"/>
            </a:pPr>
            <a:r>
              <a:rPr lang="en-US" sz="3400" b="1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Key elements of the sustainable rail development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3223785" y="2417634"/>
            <a:ext cx="2578466" cy="2578466"/>
            <a:chOff x="2048445" y="1476471"/>
            <a:chExt cx="4961773" cy="4961772"/>
          </a:xfrm>
        </p:grpSpPr>
        <p:sp>
          <p:nvSpPr>
            <p:cNvPr id="5" name="Freeform 6"/>
            <p:cNvSpPr>
              <a:spLocks/>
            </p:cNvSpPr>
            <p:nvPr/>
          </p:nvSpPr>
          <p:spPr bwMode="gray">
            <a:xfrm flipH="1">
              <a:off x="2048445" y="1476471"/>
              <a:ext cx="3781816" cy="2717250"/>
            </a:xfrm>
            <a:custGeom>
              <a:avLst/>
              <a:gdLst>
                <a:gd name="T0" fmla="*/ 2147483647 w 2397"/>
                <a:gd name="T1" fmla="*/ 2147483647 h 1721"/>
                <a:gd name="T2" fmla="*/ 2147483647 w 2397"/>
                <a:gd name="T3" fmla="*/ 2147483647 h 1721"/>
                <a:gd name="T4" fmla="*/ 2147483647 w 2397"/>
                <a:gd name="T5" fmla="*/ 2147483647 h 1721"/>
                <a:gd name="T6" fmla="*/ 2147483647 w 2397"/>
                <a:gd name="T7" fmla="*/ 2147483647 h 1721"/>
                <a:gd name="T8" fmla="*/ 2147483647 w 2397"/>
                <a:gd name="T9" fmla="*/ 2147483647 h 1721"/>
                <a:gd name="T10" fmla="*/ 2147483647 w 2397"/>
                <a:gd name="T11" fmla="*/ 2147483647 h 1721"/>
                <a:gd name="T12" fmla="*/ 2147483647 w 2397"/>
                <a:gd name="T13" fmla="*/ 2147483647 h 1721"/>
                <a:gd name="T14" fmla="*/ 2147483647 w 2397"/>
                <a:gd name="T15" fmla="*/ 2147483647 h 1721"/>
                <a:gd name="T16" fmla="*/ 2147483647 w 2397"/>
                <a:gd name="T17" fmla="*/ 2147483647 h 1721"/>
                <a:gd name="T18" fmla="*/ 2147483647 w 2397"/>
                <a:gd name="T19" fmla="*/ 2147483647 h 1721"/>
                <a:gd name="T20" fmla="*/ 2147483647 w 2397"/>
                <a:gd name="T21" fmla="*/ 2147483647 h 1721"/>
                <a:gd name="T22" fmla="*/ 2147483647 w 2397"/>
                <a:gd name="T23" fmla="*/ 2147483647 h 1721"/>
                <a:gd name="T24" fmla="*/ 2147483647 w 2397"/>
                <a:gd name="T25" fmla="*/ 2147483647 h 1721"/>
                <a:gd name="T26" fmla="*/ 2147483647 w 2397"/>
                <a:gd name="T27" fmla="*/ 2147483647 h 1721"/>
                <a:gd name="T28" fmla="*/ 2147483647 w 2397"/>
                <a:gd name="T29" fmla="*/ 2147483647 h 1721"/>
                <a:gd name="T30" fmla="*/ 2147483647 w 2397"/>
                <a:gd name="T31" fmla="*/ 2147483647 h 1721"/>
                <a:gd name="T32" fmla="*/ 2147483647 w 2397"/>
                <a:gd name="T33" fmla="*/ 2147483647 h 1721"/>
                <a:gd name="T34" fmla="*/ 2147483647 w 2397"/>
                <a:gd name="T35" fmla="*/ 2147483647 h 1721"/>
                <a:gd name="T36" fmla="*/ 2147483647 w 2397"/>
                <a:gd name="T37" fmla="*/ 2147483647 h 1721"/>
                <a:gd name="T38" fmla="*/ 2147483647 w 2397"/>
                <a:gd name="T39" fmla="*/ 2147483647 h 1721"/>
                <a:gd name="T40" fmla="*/ 2147483647 w 2397"/>
                <a:gd name="T41" fmla="*/ 2147483647 h 1721"/>
                <a:gd name="T42" fmla="*/ 2147483647 w 2397"/>
                <a:gd name="T43" fmla="*/ 2147483647 h 1721"/>
                <a:gd name="T44" fmla="*/ 2147483647 w 2397"/>
                <a:gd name="T45" fmla="*/ 2147483647 h 1721"/>
                <a:gd name="T46" fmla="*/ 2147483647 w 2397"/>
                <a:gd name="T47" fmla="*/ 2147483647 h 1721"/>
                <a:gd name="T48" fmla="*/ 2147483647 w 2397"/>
                <a:gd name="T49" fmla="*/ 2147483647 h 1721"/>
                <a:gd name="T50" fmla="*/ 2147483647 w 2397"/>
                <a:gd name="T51" fmla="*/ 2147483647 h 1721"/>
                <a:gd name="T52" fmla="*/ 2147483647 w 2397"/>
                <a:gd name="T53" fmla="*/ 2147483647 h 1721"/>
                <a:gd name="T54" fmla="*/ 2147483647 w 2397"/>
                <a:gd name="T55" fmla="*/ 2147483647 h 1721"/>
                <a:gd name="T56" fmla="*/ 2147483647 w 2397"/>
                <a:gd name="T57" fmla="*/ 2147483647 h 1721"/>
                <a:gd name="T58" fmla="*/ 2147483647 w 2397"/>
                <a:gd name="T59" fmla="*/ 2147483647 h 1721"/>
                <a:gd name="T60" fmla="*/ 2147483647 w 2397"/>
                <a:gd name="T61" fmla="*/ 2147483647 h 1721"/>
                <a:gd name="T62" fmla="*/ 2147483647 w 2397"/>
                <a:gd name="T63" fmla="*/ 2147483647 h 1721"/>
                <a:gd name="T64" fmla="*/ 2147483647 w 2397"/>
                <a:gd name="T65" fmla="*/ 2147483647 h 1721"/>
                <a:gd name="T66" fmla="*/ 2147483647 w 2397"/>
                <a:gd name="T67" fmla="*/ 2147483647 h 1721"/>
                <a:gd name="T68" fmla="*/ 2147483647 w 2397"/>
                <a:gd name="T69" fmla="*/ 2147483647 h 1721"/>
                <a:gd name="T70" fmla="*/ 2147483647 w 2397"/>
                <a:gd name="T71" fmla="*/ 2147483647 h 1721"/>
                <a:gd name="T72" fmla="*/ 2147483647 w 2397"/>
                <a:gd name="T73" fmla="*/ 2147483647 h 1721"/>
                <a:gd name="T74" fmla="*/ 2147483647 w 2397"/>
                <a:gd name="T75" fmla="*/ 2147483647 h 1721"/>
                <a:gd name="T76" fmla="*/ 2147483647 w 2397"/>
                <a:gd name="T77" fmla="*/ 2147483647 h 1721"/>
                <a:gd name="T78" fmla="*/ 2147483647 w 2397"/>
                <a:gd name="T79" fmla="*/ 2147483647 h 1721"/>
                <a:gd name="T80" fmla="*/ 2147483647 w 2397"/>
                <a:gd name="T81" fmla="*/ 2147483647 h 1721"/>
                <a:gd name="T82" fmla="*/ 2147483647 w 2397"/>
                <a:gd name="T83" fmla="*/ 2147483647 h 1721"/>
                <a:gd name="T84" fmla="*/ 2147483647 w 2397"/>
                <a:gd name="T85" fmla="*/ 2147483647 h 1721"/>
                <a:gd name="T86" fmla="*/ 2147483647 w 2397"/>
                <a:gd name="T87" fmla="*/ 2147483647 h 1721"/>
                <a:gd name="T88" fmla="*/ 2147483647 w 2397"/>
                <a:gd name="T89" fmla="*/ 2147483647 h 1721"/>
                <a:gd name="T90" fmla="*/ 2147483647 w 2397"/>
                <a:gd name="T91" fmla="*/ 2147483647 h 1721"/>
                <a:gd name="T92" fmla="*/ 2147483647 w 2397"/>
                <a:gd name="T93" fmla="*/ 2147483647 h 1721"/>
                <a:gd name="T94" fmla="*/ 2147483647 w 2397"/>
                <a:gd name="T95" fmla="*/ 2147483647 h 1721"/>
                <a:gd name="T96" fmla="*/ 2147483647 w 2397"/>
                <a:gd name="T97" fmla="*/ 2147483647 h 1721"/>
                <a:gd name="T98" fmla="*/ 2147483647 w 2397"/>
                <a:gd name="T99" fmla="*/ 2147483647 h 1721"/>
                <a:gd name="T100" fmla="*/ 2147483647 w 2397"/>
                <a:gd name="T101" fmla="*/ 2147483647 h 1721"/>
                <a:gd name="T102" fmla="*/ 2147483647 w 2397"/>
                <a:gd name="T103" fmla="*/ 2147483647 h 1721"/>
                <a:gd name="T104" fmla="*/ 2147483647 w 2397"/>
                <a:gd name="T105" fmla="*/ 2147483647 h 1721"/>
                <a:gd name="T106" fmla="*/ 2147483647 w 2397"/>
                <a:gd name="T107" fmla="*/ 2147483647 h 172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7" h="1721">
                  <a:moveTo>
                    <a:pt x="1594" y="1566"/>
                  </a:moveTo>
                  <a:lnTo>
                    <a:pt x="1597" y="1575"/>
                  </a:lnTo>
                  <a:lnTo>
                    <a:pt x="1598" y="1580"/>
                  </a:lnTo>
                  <a:lnTo>
                    <a:pt x="1598" y="1584"/>
                  </a:lnTo>
                  <a:lnTo>
                    <a:pt x="1597" y="1588"/>
                  </a:lnTo>
                  <a:lnTo>
                    <a:pt x="1594" y="1591"/>
                  </a:lnTo>
                  <a:lnTo>
                    <a:pt x="1589" y="1596"/>
                  </a:lnTo>
                  <a:lnTo>
                    <a:pt x="1584" y="1600"/>
                  </a:lnTo>
                  <a:lnTo>
                    <a:pt x="1578" y="1604"/>
                  </a:lnTo>
                  <a:lnTo>
                    <a:pt x="1573" y="1610"/>
                  </a:lnTo>
                  <a:lnTo>
                    <a:pt x="1569" y="1616"/>
                  </a:lnTo>
                  <a:lnTo>
                    <a:pt x="1565" y="1623"/>
                  </a:lnTo>
                  <a:lnTo>
                    <a:pt x="1562" y="1631"/>
                  </a:lnTo>
                  <a:lnTo>
                    <a:pt x="1559" y="1640"/>
                  </a:lnTo>
                  <a:lnTo>
                    <a:pt x="1559" y="1647"/>
                  </a:lnTo>
                  <a:lnTo>
                    <a:pt x="1557" y="1661"/>
                  </a:lnTo>
                  <a:lnTo>
                    <a:pt x="1560" y="1673"/>
                  </a:lnTo>
                  <a:lnTo>
                    <a:pt x="1563" y="1685"/>
                  </a:lnTo>
                  <a:lnTo>
                    <a:pt x="1570" y="1697"/>
                  </a:lnTo>
                  <a:lnTo>
                    <a:pt x="1578" y="1705"/>
                  </a:lnTo>
                  <a:lnTo>
                    <a:pt x="1586" y="1713"/>
                  </a:lnTo>
                  <a:lnTo>
                    <a:pt x="1597" y="1718"/>
                  </a:lnTo>
                  <a:lnTo>
                    <a:pt x="1608" y="1721"/>
                  </a:lnTo>
                  <a:lnTo>
                    <a:pt x="1610" y="1721"/>
                  </a:lnTo>
                  <a:lnTo>
                    <a:pt x="1622" y="1720"/>
                  </a:lnTo>
                  <a:lnTo>
                    <a:pt x="1633" y="1717"/>
                  </a:lnTo>
                  <a:lnTo>
                    <a:pt x="1644" y="1711"/>
                  </a:lnTo>
                  <a:lnTo>
                    <a:pt x="1652" y="1704"/>
                  </a:lnTo>
                  <a:lnTo>
                    <a:pt x="1661" y="1694"/>
                  </a:lnTo>
                  <a:lnTo>
                    <a:pt x="1667" y="1683"/>
                  </a:lnTo>
                  <a:lnTo>
                    <a:pt x="1671" y="1672"/>
                  </a:lnTo>
                  <a:lnTo>
                    <a:pt x="1673" y="1657"/>
                  </a:lnTo>
                  <a:lnTo>
                    <a:pt x="1673" y="1650"/>
                  </a:lnTo>
                  <a:lnTo>
                    <a:pt x="1673" y="1641"/>
                  </a:lnTo>
                  <a:lnTo>
                    <a:pt x="1671" y="1634"/>
                  </a:lnTo>
                  <a:lnTo>
                    <a:pt x="1668" y="1626"/>
                  </a:lnTo>
                  <a:lnTo>
                    <a:pt x="1665" y="1619"/>
                  </a:lnTo>
                  <a:lnTo>
                    <a:pt x="1661" y="1612"/>
                  </a:lnTo>
                  <a:lnTo>
                    <a:pt x="1657" y="1606"/>
                  </a:lnTo>
                  <a:lnTo>
                    <a:pt x="1651" y="1602"/>
                  </a:lnTo>
                  <a:lnTo>
                    <a:pt x="1648" y="1597"/>
                  </a:lnTo>
                  <a:lnTo>
                    <a:pt x="1646" y="1593"/>
                  </a:lnTo>
                  <a:lnTo>
                    <a:pt x="1645" y="1588"/>
                  </a:lnTo>
                  <a:lnTo>
                    <a:pt x="1645" y="1584"/>
                  </a:lnTo>
                  <a:lnTo>
                    <a:pt x="1646" y="1581"/>
                  </a:lnTo>
                  <a:lnTo>
                    <a:pt x="1649" y="1575"/>
                  </a:lnTo>
                  <a:lnTo>
                    <a:pt x="1654" y="1571"/>
                  </a:lnTo>
                  <a:lnTo>
                    <a:pt x="1658" y="1568"/>
                  </a:lnTo>
                  <a:lnTo>
                    <a:pt x="1658" y="1566"/>
                  </a:lnTo>
                  <a:lnTo>
                    <a:pt x="1888" y="1566"/>
                  </a:lnTo>
                  <a:lnTo>
                    <a:pt x="1968" y="1566"/>
                  </a:lnTo>
                  <a:lnTo>
                    <a:pt x="2147" y="1566"/>
                  </a:lnTo>
                  <a:lnTo>
                    <a:pt x="2147" y="1563"/>
                  </a:lnTo>
                  <a:lnTo>
                    <a:pt x="2145" y="1561"/>
                  </a:lnTo>
                  <a:lnTo>
                    <a:pt x="2151" y="1558"/>
                  </a:lnTo>
                  <a:lnTo>
                    <a:pt x="2154" y="1553"/>
                  </a:lnTo>
                  <a:lnTo>
                    <a:pt x="2155" y="1547"/>
                  </a:lnTo>
                  <a:lnTo>
                    <a:pt x="2157" y="1543"/>
                  </a:lnTo>
                  <a:lnTo>
                    <a:pt x="2157" y="1539"/>
                  </a:lnTo>
                  <a:lnTo>
                    <a:pt x="2155" y="1534"/>
                  </a:lnTo>
                  <a:lnTo>
                    <a:pt x="2152" y="1531"/>
                  </a:lnTo>
                  <a:lnTo>
                    <a:pt x="2150" y="1527"/>
                  </a:lnTo>
                  <a:lnTo>
                    <a:pt x="2144" y="1523"/>
                  </a:lnTo>
                  <a:lnTo>
                    <a:pt x="2138" y="1517"/>
                  </a:lnTo>
                  <a:lnTo>
                    <a:pt x="2133" y="1511"/>
                  </a:lnTo>
                  <a:lnTo>
                    <a:pt x="2129" y="1505"/>
                  </a:lnTo>
                  <a:lnTo>
                    <a:pt x="2126" y="1498"/>
                  </a:lnTo>
                  <a:lnTo>
                    <a:pt x="2123" y="1490"/>
                  </a:lnTo>
                  <a:lnTo>
                    <a:pt x="2122" y="1482"/>
                  </a:lnTo>
                  <a:lnTo>
                    <a:pt x="2120" y="1473"/>
                  </a:lnTo>
                  <a:lnTo>
                    <a:pt x="2122" y="1460"/>
                  </a:lnTo>
                  <a:lnTo>
                    <a:pt x="2125" y="1448"/>
                  </a:lnTo>
                  <a:lnTo>
                    <a:pt x="2129" y="1436"/>
                  </a:lnTo>
                  <a:lnTo>
                    <a:pt x="2136" y="1426"/>
                  </a:lnTo>
                  <a:lnTo>
                    <a:pt x="2144" y="1417"/>
                  </a:lnTo>
                  <a:lnTo>
                    <a:pt x="2154" y="1410"/>
                  </a:lnTo>
                  <a:lnTo>
                    <a:pt x="2164" y="1406"/>
                  </a:lnTo>
                  <a:lnTo>
                    <a:pt x="2176" y="1404"/>
                  </a:lnTo>
                  <a:lnTo>
                    <a:pt x="2177" y="1404"/>
                  </a:lnTo>
                  <a:lnTo>
                    <a:pt x="2189" y="1406"/>
                  </a:lnTo>
                  <a:lnTo>
                    <a:pt x="2201" y="1408"/>
                  </a:lnTo>
                  <a:lnTo>
                    <a:pt x="2211" y="1416"/>
                  </a:lnTo>
                  <a:lnTo>
                    <a:pt x="2218" y="1423"/>
                  </a:lnTo>
                  <a:lnTo>
                    <a:pt x="2226" y="1433"/>
                  </a:lnTo>
                  <a:lnTo>
                    <a:pt x="2231" y="1445"/>
                  </a:lnTo>
                  <a:lnTo>
                    <a:pt x="2234" y="1457"/>
                  </a:lnTo>
                  <a:lnTo>
                    <a:pt x="2236" y="1471"/>
                  </a:lnTo>
                  <a:lnTo>
                    <a:pt x="2236" y="1479"/>
                  </a:lnTo>
                  <a:lnTo>
                    <a:pt x="2234" y="1487"/>
                  </a:lnTo>
                  <a:lnTo>
                    <a:pt x="2233" y="1495"/>
                  </a:lnTo>
                  <a:lnTo>
                    <a:pt x="2230" y="1502"/>
                  </a:lnTo>
                  <a:lnTo>
                    <a:pt x="2226" y="1509"/>
                  </a:lnTo>
                  <a:lnTo>
                    <a:pt x="2221" y="1515"/>
                  </a:lnTo>
                  <a:lnTo>
                    <a:pt x="2217" y="1521"/>
                  </a:lnTo>
                  <a:lnTo>
                    <a:pt x="2211" y="1525"/>
                  </a:lnTo>
                  <a:lnTo>
                    <a:pt x="2208" y="1530"/>
                  </a:lnTo>
                  <a:lnTo>
                    <a:pt x="2205" y="1534"/>
                  </a:lnTo>
                  <a:lnTo>
                    <a:pt x="2204" y="1537"/>
                  </a:lnTo>
                  <a:lnTo>
                    <a:pt x="2204" y="1542"/>
                  </a:lnTo>
                  <a:lnTo>
                    <a:pt x="2205" y="1546"/>
                  </a:lnTo>
                  <a:lnTo>
                    <a:pt x="2207" y="1552"/>
                  </a:lnTo>
                  <a:lnTo>
                    <a:pt x="2211" y="1556"/>
                  </a:lnTo>
                  <a:lnTo>
                    <a:pt x="2215" y="1559"/>
                  </a:lnTo>
                  <a:lnTo>
                    <a:pt x="2217" y="1561"/>
                  </a:lnTo>
                  <a:lnTo>
                    <a:pt x="2218" y="1561"/>
                  </a:lnTo>
                  <a:lnTo>
                    <a:pt x="2218" y="1563"/>
                  </a:lnTo>
                  <a:lnTo>
                    <a:pt x="2218" y="1566"/>
                  </a:lnTo>
                  <a:lnTo>
                    <a:pt x="2397" y="1566"/>
                  </a:lnTo>
                  <a:lnTo>
                    <a:pt x="2395" y="1486"/>
                  </a:lnTo>
                  <a:lnTo>
                    <a:pt x="2388" y="1407"/>
                  </a:lnTo>
                  <a:lnTo>
                    <a:pt x="2378" y="1330"/>
                  </a:lnTo>
                  <a:lnTo>
                    <a:pt x="2365" y="1252"/>
                  </a:lnTo>
                  <a:lnTo>
                    <a:pt x="2347" y="1176"/>
                  </a:lnTo>
                  <a:lnTo>
                    <a:pt x="2325" y="1101"/>
                  </a:lnTo>
                  <a:lnTo>
                    <a:pt x="2300" y="1030"/>
                  </a:lnTo>
                  <a:lnTo>
                    <a:pt x="2272" y="958"/>
                  </a:lnTo>
                  <a:lnTo>
                    <a:pt x="2240" y="889"/>
                  </a:lnTo>
                  <a:lnTo>
                    <a:pt x="2207" y="821"/>
                  </a:lnTo>
                  <a:lnTo>
                    <a:pt x="2169" y="755"/>
                  </a:lnTo>
                  <a:lnTo>
                    <a:pt x="2128" y="692"/>
                  </a:lnTo>
                  <a:lnTo>
                    <a:pt x="2084" y="631"/>
                  </a:lnTo>
                  <a:lnTo>
                    <a:pt x="2037" y="571"/>
                  </a:lnTo>
                  <a:lnTo>
                    <a:pt x="1987" y="515"/>
                  </a:lnTo>
                  <a:lnTo>
                    <a:pt x="1935" y="459"/>
                  </a:lnTo>
                  <a:lnTo>
                    <a:pt x="1880" y="408"/>
                  </a:lnTo>
                  <a:lnTo>
                    <a:pt x="1823" y="359"/>
                  </a:lnTo>
                  <a:lnTo>
                    <a:pt x="1765" y="312"/>
                  </a:lnTo>
                  <a:lnTo>
                    <a:pt x="1703" y="268"/>
                  </a:lnTo>
                  <a:lnTo>
                    <a:pt x="1639" y="227"/>
                  </a:lnTo>
                  <a:lnTo>
                    <a:pt x="1573" y="190"/>
                  </a:lnTo>
                  <a:lnTo>
                    <a:pt x="1506" y="155"/>
                  </a:lnTo>
                  <a:lnTo>
                    <a:pt x="1436" y="123"/>
                  </a:lnTo>
                  <a:lnTo>
                    <a:pt x="1366" y="95"/>
                  </a:lnTo>
                  <a:lnTo>
                    <a:pt x="1293" y="71"/>
                  </a:lnTo>
                  <a:lnTo>
                    <a:pt x="1218" y="50"/>
                  </a:lnTo>
                  <a:lnTo>
                    <a:pt x="1142" y="32"/>
                  </a:lnTo>
                  <a:lnTo>
                    <a:pt x="1066" y="18"/>
                  </a:lnTo>
                  <a:lnTo>
                    <a:pt x="987" y="9"/>
                  </a:lnTo>
                  <a:lnTo>
                    <a:pt x="908" y="2"/>
                  </a:lnTo>
                  <a:lnTo>
                    <a:pt x="827" y="0"/>
                  </a:lnTo>
                  <a:lnTo>
                    <a:pt x="773" y="2"/>
                  </a:lnTo>
                  <a:lnTo>
                    <a:pt x="719" y="3"/>
                  </a:lnTo>
                  <a:lnTo>
                    <a:pt x="667" y="9"/>
                  </a:lnTo>
                  <a:lnTo>
                    <a:pt x="614" y="15"/>
                  </a:lnTo>
                  <a:lnTo>
                    <a:pt x="563" y="22"/>
                  </a:lnTo>
                  <a:lnTo>
                    <a:pt x="510" y="32"/>
                  </a:lnTo>
                  <a:lnTo>
                    <a:pt x="460" y="44"/>
                  </a:lnTo>
                  <a:lnTo>
                    <a:pt x="409" y="57"/>
                  </a:lnTo>
                  <a:lnTo>
                    <a:pt x="361" y="72"/>
                  </a:lnTo>
                  <a:lnTo>
                    <a:pt x="311" y="88"/>
                  </a:lnTo>
                  <a:lnTo>
                    <a:pt x="263" y="106"/>
                  </a:lnTo>
                  <a:lnTo>
                    <a:pt x="216" y="125"/>
                  </a:lnTo>
                  <a:lnTo>
                    <a:pt x="169" y="145"/>
                  </a:lnTo>
                  <a:lnTo>
                    <a:pt x="124" y="167"/>
                  </a:lnTo>
                  <a:lnTo>
                    <a:pt x="79" y="190"/>
                  </a:lnTo>
                  <a:lnTo>
                    <a:pt x="35" y="217"/>
                  </a:lnTo>
                  <a:lnTo>
                    <a:pt x="123" y="370"/>
                  </a:lnTo>
                  <a:lnTo>
                    <a:pt x="121" y="370"/>
                  </a:lnTo>
                  <a:lnTo>
                    <a:pt x="121" y="372"/>
                  </a:lnTo>
                  <a:lnTo>
                    <a:pt x="121" y="373"/>
                  </a:lnTo>
                  <a:lnTo>
                    <a:pt x="123" y="373"/>
                  </a:lnTo>
                  <a:lnTo>
                    <a:pt x="121" y="379"/>
                  </a:lnTo>
                  <a:lnTo>
                    <a:pt x="120" y="385"/>
                  </a:lnTo>
                  <a:lnTo>
                    <a:pt x="115" y="391"/>
                  </a:lnTo>
                  <a:lnTo>
                    <a:pt x="112" y="392"/>
                  </a:lnTo>
                  <a:lnTo>
                    <a:pt x="109" y="395"/>
                  </a:lnTo>
                  <a:lnTo>
                    <a:pt x="105" y="397"/>
                  </a:lnTo>
                  <a:lnTo>
                    <a:pt x="101" y="397"/>
                  </a:lnTo>
                  <a:lnTo>
                    <a:pt x="95" y="395"/>
                  </a:lnTo>
                  <a:lnTo>
                    <a:pt x="87" y="392"/>
                  </a:lnTo>
                  <a:lnTo>
                    <a:pt x="80" y="391"/>
                  </a:lnTo>
                  <a:lnTo>
                    <a:pt x="73" y="391"/>
                  </a:lnTo>
                  <a:lnTo>
                    <a:pt x="65" y="391"/>
                  </a:lnTo>
                  <a:lnTo>
                    <a:pt x="58" y="392"/>
                  </a:lnTo>
                  <a:lnTo>
                    <a:pt x="49" y="394"/>
                  </a:lnTo>
                  <a:lnTo>
                    <a:pt x="42" y="397"/>
                  </a:lnTo>
                  <a:lnTo>
                    <a:pt x="35" y="401"/>
                  </a:lnTo>
                  <a:lnTo>
                    <a:pt x="23" y="408"/>
                  </a:lnTo>
                  <a:lnTo>
                    <a:pt x="14" y="417"/>
                  </a:lnTo>
                  <a:lnTo>
                    <a:pt x="7" y="427"/>
                  </a:lnTo>
                  <a:lnTo>
                    <a:pt x="3" y="439"/>
                  </a:lnTo>
                  <a:lnTo>
                    <a:pt x="0" y="451"/>
                  </a:lnTo>
                  <a:lnTo>
                    <a:pt x="0" y="462"/>
                  </a:lnTo>
                  <a:lnTo>
                    <a:pt x="1" y="474"/>
                  </a:lnTo>
                  <a:lnTo>
                    <a:pt x="6" y="486"/>
                  </a:lnTo>
                  <a:lnTo>
                    <a:pt x="7" y="486"/>
                  </a:lnTo>
                  <a:lnTo>
                    <a:pt x="14" y="495"/>
                  </a:lnTo>
                  <a:lnTo>
                    <a:pt x="23" y="502"/>
                  </a:lnTo>
                  <a:lnTo>
                    <a:pt x="35" y="508"/>
                  </a:lnTo>
                  <a:lnTo>
                    <a:pt x="46" y="511"/>
                  </a:lnTo>
                  <a:lnTo>
                    <a:pt x="58" y="511"/>
                  </a:lnTo>
                  <a:lnTo>
                    <a:pt x="70" y="509"/>
                  </a:lnTo>
                  <a:lnTo>
                    <a:pt x="83" y="505"/>
                  </a:lnTo>
                  <a:lnTo>
                    <a:pt x="95" y="499"/>
                  </a:lnTo>
                  <a:lnTo>
                    <a:pt x="102" y="495"/>
                  </a:lnTo>
                  <a:lnTo>
                    <a:pt x="108" y="489"/>
                  </a:lnTo>
                  <a:lnTo>
                    <a:pt x="112" y="483"/>
                  </a:lnTo>
                  <a:lnTo>
                    <a:pt x="118" y="476"/>
                  </a:lnTo>
                  <a:lnTo>
                    <a:pt x="121" y="470"/>
                  </a:lnTo>
                  <a:lnTo>
                    <a:pt x="124" y="462"/>
                  </a:lnTo>
                  <a:lnTo>
                    <a:pt x="125" y="455"/>
                  </a:lnTo>
                  <a:lnTo>
                    <a:pt x="127" y="448"/>
                  </a:lnTo>
                  <a:lnTo>
                    <a:pt x="128" y="443"/>
                  </a:lnTo>
                  <a:lnTo>
                    <a:pt x="131" y="439"/>
                  </a:lnTo>
                  <a:lnTo>
                    <a:pt x="134" y="436"/>
                  </a:lnTo>
                  <a:lnTo>
                    <a:pt x="137" y="433"/>
                  </a:lnTo>
                  <a:lnTo>
                    <a:pt x="142" y="432"/>
                  </a:lnTo>
                  <a:lnTo>
                    <a:pt x="147" y="430"/>
                  </a:lnTo>
                  <a:lnTo>
                    <a:pt x="153" y="432"/>
                  </a:lnTo>
                  <a:lnTo>
                    <a:pt x="158" y="433"/>
                  </a:lnTo>
                  <a:lnTo>
                    <a:pt x="159" y="433"/>
                  </a:lnTo>
                  <a:lnTo>
                    <a:pt x="403" y="857"/>
                  </a:lnTo>
                  <a:lnTo>
                    <a:pt x="409" y="859"/>
                  </a:lnTo>
                  <a:lnTo>
                    <a:pt x="415" y="860"/>
                  </a:lnTo>
                  <a:lnTo>
                    <a:pt x="419" y="860"/>
                  </a:lnTo>
                  <a:lnTo>
                    <a:pt x="424" y="859"/>
                  </a:lnTo>
                  <a:lnTo>
                    <a:pt x="428" y="857"/>
                  </a:lnTo>
                  <a:lnTo>
                    <a:pt x="431" y="854"/>
                  </a:lnTo>
                  <a:lnTo>
                    <a:pt x="433" y="850"/>
                  </a:lnTo>
                  <a:lnTo>
                    <a:pt x="435" y="846"/>
                  </a:lnTo>
                  <a:lnTo>
                    <a:pt x="437" y="838"/>
                  </a:lnTo>
                  <a:lnTo>
                    <a:pt x="440" y="831"/>
                  </a:lnTo>
                  <a:lnTo>
                    <a:pt x="444" y="825"/>
                  </a:lnTo>
                  <a:lnTo>
                    <a:pt x="449" y="818"/>
                  </a:lnTo>
                  <a:lnTo>
                    <a:pt x="453" y="812"/>
                  </a:lnTo>
                  <a:lnTo>
                    <a:pt x="459" y="807"/>
                  </a:lnTo>
                  <a:lnTo>
                    <a:pt x="466" y="802"/>
                  </a:lnTo>
                  <a:lnTo>
                    <a:pt x="474" y="799"/>
                  </a:lnTo>
                  <a:lnTo>
                    <a:pt x="485" y="793"/>
                  </a:lnTo>
                  <a:lnTo>
                    <a:pt x="498" y="791"/>
                  </a:lnTo>
                  <a:lnTo>
                    <a:pt x="512" y="791"/>
                  </a:lnTo>
                  <a:lnTo>
                    <a:pt x="523" y="793"/>
                  </a:lnTo>
                  <a:lnTo>
                    <a:pt x="535" y="797"/>
                  </a:lnTo>
                  <a:lnTo>
                    <a:pt x="545" y="803"/>
                  </a:lnTo>
                  <a:lnTo>
                    <a:pt x="552" y="812"/>
                  </a:lnTo>
                  <a:lnTo>
                    <a:pt x="560" y="822"/>
                  </a:lnTo>
                  <a:lnTo>
                    <a:pt x="563" y="834"/>
                  </a:lnTo>
                  <a:lnTo>
                    <a:pt x="564" y="846"/>
                  </a:lnTo>
                  <a:lnTo>
                    <a:pt x="563" y="857"/>
                  </a:lnTo>
                  <a:lnTo>
                    <a:pt x="558" y="869"/>
                  </a:lnTo>
                  <a:lnTo>
                    <a:pt x="552" y="879"/>
                  </a:lnTo>
                  <a:lnTo>
                    <a:pt x="544" y="888"/>
                  </a:lnTo>
                  <a:lnTo>
                    <a:pt x="533" y="897"/>
                  </a:lnTo>
                  <a:lnTo>
                    <a:pt x="522" y="903"/>
                  </a:lnTo>
                  <a:lnTo>
                    <a:pt x="514" y="905"/>
                  </a:lnTo>
                  <a:lnTo>
                    <a:pt x="506" y="908"/>
                  </a:lnTo>
                  <a:lnTo>
                    <a:pt x="498" y="908"/>
                  </a:lnTo>
                  <a:lnTo>
                    <a:pt x="490" y="910"/>
                  </a:lnTo>
                  <a:lnTo>
                    <a:pt x="482" y="908"/>
                  </a:lnTo>
                  <a:lnTo>
                    <a:pt x="475" y="907"/>
                  </a:lnTo>
                  <a:lnTo>
                    <a:pt x="468" y="904"/>
                  </a:lnTo>
                  <a:lnTo>
                    <a:pt x="460" y="901"/>
                  </a:lnTo>
                  <a:lnTo>
                    <a:pt x="456" y="900"/>
                  </a:lnTo>
                  <a:lnTo>
                    <a:pt x="452" y="900"/>
                  </a:lnTo>
                  <a:lnTo>
                    <a:pt x="447" y="900"/>
                  </a:lnTo>
                  <a:lnTo>
                    <a:pt x="443" y="901"/>
                  </a:lnTo>
                  <a:lnTo>
                    <a:pt x="440" y="905"/>
                  </a:lnTo>
                  <a:lnTo>
                    <a:pt x="434" y="910"/>
                  </a:lnTo>
                  <a:lnTo>
                    <a:pt x="509" y="1039"/>
                  </a:lnTo>
                  <a:lnTo>
                    <a:pt x="544" y="1018"/>
                  </a:lnTo>
                  <a:lnTo>
                    <a:pt x="582" y="1001"/>
                  </a:lnTo>
                  <a:lnTo>
                    <a:pt x="620" y="986"/>
                  </a:lnTo>
                  <a:lnTo>
                    <a:pt x="659" y="973"/>
                  </a:lnTo>
                  <a:lnTo>
                    <a:pt x="700" y="964"/>
                  </a:lnTo>
                  <a:lnTo>
                    <a:pt x="741" y="957"/>
                  </a:lnTo>
                  <a:lnTo>
                    <a:pt x="763" y="954"/>
                  </a:lnTo>
                  <a:lnTo>
                    <a:pt x="784" y="952"/>
                  </a:lnTo>
                  <a:lnTo>
                    <a:pt x="805" y="951"/>
                  </a:lnTo>
                  <a:lnTo>
                    <a:pt x="827" y="951"/>
                  </a:lnTo>
                  <a:lnTo>
                    <a:pt x="858" y="951"/>
                  </a:lnTo>
                  <a:lnTo>
                    <a:pt x="890" y="954"/>
                  </a:lnTo>
                  <a:lnTo>
                    <a:pt x="921" y="957"/>
                  </a:lnTo>
                  <a:lnTo>
                    <a:pt x="952" y="962"/>
                  </a:lnTo>
                  <a:lnTo>
                    <a:pt x="981" y="970"/>
                  </a:lnTo>
                  <a:lnTo>
                    <a:pt x="1010" y="979"/>
                  </a:lnTo>
                  <a:lnTo>
                    <a:pt x="1039" y="987"/>
                  </a:lnTo>
                  <a:lnTo>
                    <a:pt x="1067" y="999"/>
                  </a:lnTo>
                  <a:lnTo>
                    <a:pt x="1095" y="1011"/>
                  </a:lnTo>
                  <a:lnTo>
                    <a:pt x="1121" y="1025"/>
                  </a:lnTo>
                  <a:lnTo>
                    <a:pt x="1148" y="1040"/>
                  </a:lnTo>
                  <a:lnTo>
                    <a:pt x="1173" y="1056"/>
                  </a:lnTo>
                  <a:lnTo>
                    <a:pt x="1196" y="1074"/>
                  </a:lnTo>
                  <a:lnTo>
                    <a:pt x="1219" y="1091"/>
                  </a:lnTo>
                  <a:lnTo>
                    <a:pt x="1243" y="1110"/>
                  </a:lnTo>
                  <a:lnTo>
                    <a:pt x="1265" y="1131"/>
                  </a:lnTo>
                  <a:lnTo>
                    <a:pt x="1285" y="1153"/>
                  </a:lnTo>
                  <a:lnTo>
                    <a:pt x="1304" y="1175"/>
                  </a:lnTo>
                  <a:lnTo>
                    <a:pt x="1323" y="1198"/>
                  </a:lnTo>
                  <a:lnTo>
                    <a:pt x="1339" y="1223"/>
                  </a:lnTo>
                  <a:lnTo>
                    <a:pt x="1355" y="1248"/>
                  </a:lnTo>
                  <a:lnTo>
                    <a:pt x="1371" y="1274"/>
                  </a:lnTo>
                  <a:lnTo>
                    <a:pt x="1385" y="1300"/>
                  </a:lnTo>
                  <a:lnTo>
                    <a:pt x="1398" y="1327"/>
                  </a:lnTo>
                  <a:lnTo>
                    <a:pt x="1408" y="1356"/>
                  </a:lnTo>
                  <a:lnTo>
                    <a:pt x="1418" y="1384"/>
                  </a:lnTo>
                  <a:lnTo>
                    <a:pt x="1427" y="1413"/>
                  </a:lnTo>
                  <a:lnTo>
                    <a:pt x="1434" y="1444"/>
                  </a:lnTo>
                  <a:lnTo>
                    <a:pt x="1439" y="1473"/>
                  </a:lnTo>
                  <a:lnTo>
                    <a:pt x="1443" y="1504"/>
                  </a:lnTo>
                  <a:lnTo>
                    <a:pt x="1446" y="1536"/>
                  </a:lnTo>
                  <a:lnTo>
                    <a:pt x="1448" y="1566"/>
                  </a:lnTo>
                  <a:lnTo>
                    <a:pt x="1594" y="1566"/>
                  </a:lnTo>
                </a:path>
              </a:pathLst>
            </a:custGeom>
            <a:blipFill dpi="0" rotWithShape="1"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28575" cmpd="sng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4157" tIns="32078" rIns="64157" bIns="32078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400"/>
            </a:p>
          </p:txBody>
        </p:sp>
        <p:sp>
          <p:nvSpPr>
            <p:cNvPr id="6" name="Freeform 9"/>
            <p:cNvSpPr>
              <a:spLocks/>
            </p:cNvSpPr>
            <p:nvPr/>
          </p:nvSpPr>
          <p:spPr bwMode="gray">
            <a:xfrm flipH="1">
              <a:off x="2052167" y="3694938"/>
              <a:ext cx="3707372" cy="2743305"/>
            </a:xfrm>
            <a:custGeom>
              <a:avLst/>
              <a:gdLst>
                <a:gd name="T0" fmla="*/ 2147483647 w 2350"/>
                <a:gd name="T1" fmla="*/ 2147483647 h 1738"/>
                <a:gd name="T2" fmla="*/ 2147483647 w 2350"/>
                <a:gd name="T3" fmla="*/ 2147483647 h 1738"/>
                <a:gd name="T4" fmla="*/ 2147483647 w 2350"/>
                <a:gd name="T5" fmla="*/ 2147483647 h 1738"/>
                <a:gd name="T6" fmla="*/ 2147483647 w 2350"/>
                <a:gd name="T7" fmla="*/ 2147483647 h 1738"/>
                <a:gd name="T8" fmla="*/ 2147483647 w 2350"/>
                <a:gd name="T9" fmla="*/ 2147483647 h 1738"/>
                <a:gd name="T10" fmla="*/ 2147483647 w 2350"/>
                <a:gd name="T11" fmla="*/ 2147483647 h 1738"/>
                <a:gd name="T12" fmla="*/ 2147483647 w 2350"/>
                <a:gd name="T13" fmla="*/ 2147483647 h 1738"/>
                <a:gd name="T14" fmla="*/ 2147483647 w 2350"/>
                <a:gd name="T15" fmla="*/ 2147483647 h 1738"/>
                <a:gd name="T16" fmla="*/ 2147483647 w 2350"/>
                <a:gd name="T17" fmla="*/ 2147483647 h 1738"/>
                <a:gd name="T18" fmla="*/ 2147483647 w 2350"/>
                <a:gd name="T19" fmla="*/ 2147483647 h 1738"/>
                <a:gd name="T20" fmla="*/ 2147483647 w 2350"/>
                <a:gd name="T21" fmla="*/ 2147483647 h 1738"/>
                <a:gd name="T22" fmla="*/ 2147483647 w 2350"/>
                <a:gd name="T23" fmla="*/ 2147483647 h 1738"/>
                <a:gd name="T24" fmla="*/ 2147483647 w 2350"/>
                <a:gd name="T25" fmla="*/ 2147483647 h 1738"/>
                <a:gd name="T26" fmla="*/ 2147483647 w 2350"/>
                <a:gd name="T27" fmla="*/ 2147483647 h 1738"/>
                <a:gd name="T28" fmla="*/ 2147483647 w 2350"/>
                <a:gd name="T29" fmla="*/ 2147483647 h 1738"/>
                <a:gd name="T30" fmla="*/ 2147483647 w 2350"/>
                <a:gd name="T31" fmla="*/ 2147483647 h 1738"/>
                <a:gd name="T32" fmla="*/ 2147483647 w 2350"/>
                <a:gd name="T33" fmla="*/ 2147483647 h 1738"/>
                <a:gd name="T34" fmla="*/ 2147483647 w 2350"/>
                <a:gd name="T35" fmla="*/ 2147483647 h 1738"/>
                <a:gd name="T36" fmla="*/ 2147483647 w 2350"/>
                <a:gd name="T37" fmla="*/ 2147483647 h 1738"/>
                <a:gd name="T38" fmla="*/ 2147483647 w 2350"/>
                <a:gd name="T39" fmla="*/ 2147483647 h 1738"/>
                <a:gd name="T40" fmla="*/ 2147483647 w 2350"/>
                <a:gd name="T41" fmla="*/ 2147483647 h 1738"/>
                <a:gd name="T42" fmla="*/ 2147483647 w 2350"/>
                <a:gd name="T43" fmla="*/ 2147483647 h 1738"/>
                <a:gd name="T44" fmla="*/ 2147483647 w 2350"/>
                <a:gd name="T45" fmla="*/ 2147483647 h 1738"/>
                <a:gd name="T46" fmla="*/ 2147483647 w 2350"/>
                <a:gd name="T47" fmla="*/ 2147483647 h 1738"/>
                <a:gd name="T48" fmla="*/ 2147483647 w 2350"/>
                <a:gd name="T49" fmla="*/ 2147483647 h 1738"/>
                <a:gd name="T50" fmla="*/ 2147483647 w 2350"/>
                <a:gd name="T51" fmla="*/ 2147483647 h 1738"/>
                <a:gd name="T52" fmla="*/ 2147483647 w 2350"/>
                <a:gd name="T53" fmla="*/ 2147483647 h 1738"/>
                <a:gd name="T54" fmla="*/ 2147483647 w 2350"/>
                <a:gd name="T55" fmla="*/ 2147483647 h 1738"/>
                <a:gd name="T56" fmla="*/ 2147483647 w 2350"/>
                <a:gd name="T57" fmla="*/ 2147483647 h 1738"/>
                <a:gd name="T58" fmla="*/ 2147483647 w 2350"/>
                <a:gd name="T59" fmla="*/ 2147483647 h 1738"/>
                <a:gd name="T60" fmla="*/ 2147483647 w 2350"/>
                <a:gd name="T61" fmla="*/ 2147483647 h 1738"/>
                <a:gd name="T62" fmla="*/ 2147483647 w 2350"/>
                <a:gd name="T63" fmla="*/ 2147483647 h 1738"/>
                <a:gd name="T64" fmla="*/ 2147483647 w 2350"/>
                <a:gd name="T65" fmla="*/ 0 h 1738"/>
                <a:gd name="T66" fmla="*/ 2147483647 w 2350"/>
                <a:gd name="T67" fmla="*/ 2147483647 h 1738"/>
                <a:gd name="T68" fmla="*/ 2147483647 w 2350"/>
                <a:gd name="T69" fmla="*/ 2147483647 h 1738"/>
                <a:gd name="T70" fmla="*/ 2147483647 w 2350"/>
                <a:gd name="T71" fmla="*/ 2147483647 h 1738"/>
                <a:gd name="T72" fmla="*/ 2147483647 w 2350"/>
                <a:gd name="T73" fmla="*/ 2147483647 h 1738"/>
                <a:gd name="T74" fmla="*/ 2147483647 w 2350"/>
                <a:gd name="T75" fmla="*/ 2147483647 h 1738"/>
                <a:gd name="T76" fmla="*/ 2147483647 w 2350"/>
                <a:gd name="T77" fmla="*/ 2147483647 h 1738"/>
                <a:gd name="T78" fmla="*/ 2147483647 w 2350"/>
                <a:gd name="T79" fmla="*/ 2147483647 h 1738"/>
                <a:gd name="T80" fmla="*/ 2147483647 w 2350"/>
                <a:gd name="T81" fmla="*/ 2147483647 h 1738"/>
                <a:gd name="T82" fmla="*/ 2147483647 w 2350"/>
                <a:gd name="T83" fmla="*/ 2147483647 h 1738"/>
                <a:gd name="T84" fmla="*/ 2147483647 w 2350"/>
                <a:gd name="T85" fmla="*/ 2147483647 h 1738"/>
                <a:gd name="T86" fmla="*/ 2147483647 w 2350"/>
                <a:gd name="T87" fmla="*/ 2147483647 h 1738"/>
                <a:gd name="T88" fmla="*/ 2147483647 w 2350"/>
                <a:gd name="T89" fmla="*/ 2147483647 h 1738"/>
                <a:gd name="T90" fmla="*/ 2147483647 w 2350"/>
                <a:gd name="T91" fmla="*/ 2147483647 h 1738"/>
                <a:gd name="T92" fmla="*/ 2147483647 w 2350"/>
                <a:gd name="T93" fmla="*/ 2147483647 h 1738"/>
                <a:gd name="T94" fmla="*/ 2147483647 w 2350"/>
                <a:gd name="T95" fmla="*/ 2147483647 h 1738"/>
                <a:gd name="T96" fmla="*/ 2147483647 w 2350"/>
                <a:gd name="T97" fmla="*/ 2147483647 h 1738"/>
                <a:gd name="T98" fmla="*/ 2147483647 w 2350"/>
                <a:gd name="T99" fmla="*/ 2147483647 h 1738"/>
                <a:gd name="T100" fmla="*/ 2147483647 w 2350"/>
                <a:gd name="T101" fmla="*/ 2147483647 h 1738"/>
                <a:gd name="T102" fmla="*/ 2147483647 w 2350"/>
                <a:gd name="T103" fmla="*/ 2147483647 h 1738"/>
                <a:gd name="T104" fmla="*/ 2147483647 w 2350"/>
                <a:gd name="T105" fmla="*/ 2147483647 h 1738"/>
                <a:gd name="T106" fmla="*/ 2147483647 w 2350"/>
                <a:gd name="T107" fmla="*/ 2147483647 h 173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50" h="1738">
                  <a:moveTo>
                    <a:pt x="401" y="835"/>
                  </a:moveTo>
                  <a:lnTo>
                    <a:pt x="393" y="834"/>
                  </a:lnTo>
                  <a:lnTo>
                    <a:pt x="388" y="833"/>
                  </a:lnTo>
                  <a:lnTo>
                    <a:pt x="385" y="830"/>
                  </a:lnTo>
                  <a:lnTo>
                    <a:pt x="382" y="827"/>
                  </a:lnTo>
                  <a:lnTo>
                    <a:pt x="380" y="822"/>
                  </a:lnTo>
                  <a:lnTo>
                    <a:pt x="379" y="816"/>
                  </a:lnTo>
                  <a:lnTo>
                    <a:pt x="377" y="809"/>
                  </a:lnTo>
                  <a:lnTo>
                    <a:pt x="376" y="802"/>
                  </a:lnTo>
                  <a:lnTo>
                    <a:pt x="374" y="795"/>
                  </a:lnTo>
                  <a:lnTo>
                    <a:pt x="371" y="787"/>
                  </a:lnTo>
                  <a:lnTo>
                    <a:pt x="367" y="781"/>
                  </a:lnTo>
                  <a:lnTo>
                    <a:pt x="361" y="774"/>
                  </a:lnTo>
                  <a:lnTo>
                    <a:pt x="357" y="768"/>
                  </a:lnTo>
                  <a:lnTo>
                    <a:pt x="350" y="764"/>
                  </a:lnTo>
                  <a:lnTo>
                    <a:pt x="338" y="756"/>
                  </a:lnTo>
                  <a:lnTo>
                    <a:pt x="326" y="752"/>
                  </a:lnTo>
                  <a:lnTo>
                    <a:pt x="314" y="749"/>
                  </a:lnTo>
                  <a:lnTo>
                    <a:pt x="301" y="749"/>
                  </a:lnTo>
                  <a:lnTo>
                    <a:pt x="290" y="752"/>
                  </a:lnTo>
                  <a:lnTo>
                    <a:pt x="279" y="755"/>
                  </a:lnTo>
                  <a:lnTo>
                    <a:pt x="269" y="762"/>
                  </a:lnTo>
                  <a:lnTo>
                    <a:pt x="260" y="771"/>
                  </a:lnTo>
                  <a:lnTo>
                    <a:pt x="254" y="783"/>
                  </a:lnTo>
                  <a:lnTo>
                    <a:pt x="252" y="793"/>
                  </a:lnTo>
                  <a:lnTo>
                    <a:pt x="252" y="805"/>
                  </a:lnTo>
                  <a:lnTo>
                    <a:pt x="253" y="818"/>
                  </a:lnTo>
                  <a:lnTo>
                    <a:pt x="257" y="828"/>
                  </a:lnTo>
                  <a:lnTo>
                    <a:pt x="265" y="840"/>
                  </a:lnTo>
                  <a:lnTo>
                    <a:pt x="272" y="850"/>
                  </a:lnTo>
                  <a:lnTo>
                    <a:pt x="284" y="857"/>
                  </a:lnTo>
                  <a:lnTo>
                    <a:pt x="290" y="862"/>
                  </a:lnTo>
                  <a:lnTo>
                    <a:pt x="298" y="866"/>
                  </a:lnTo>
                  <a:lnTo>
                    <a:pt x="306" y="868"/>
                  </a:lnTo>
                  <a:lnTo>
                    <a:pt x="313" y="869"/>
                  </a:lnTo>
                  <a:lnTo>
                    <a:pt x="320" y="871"/>
                  </a:lnTo>
                  <a:lnTo>
                    <a:pt x="329" y="871"/>
                  </a:lnTo>
                  <a:lnTo>
                    <a:pt x="336" y="869"/>
                  </a:lnTo>
                  <a:lnTo>
                    <a:pt x="344" y="868"/>
                  </a:lnTo>
                  <a:lnTo>
                    <a:pt x="348" y="866"/>
                  </a:lnTo>
                  <a:lnTo>
                    <a:pt x="352" y="868"/>
                  </a:lnTo>
                  <a:lnTo>
                    <a:pt x="357" y="868"/>
                  </a:lnTo>
                  <a:lnTo>
                    <a:pt x="360" y="871"/>
                  </a:lnTo>
                  <a:lnTo>
                    <a:pt x="363" y="873"/>
                  </a:lnTo>
                  <a:lnTo>
                    <a:pt x="366" y="878"/>
                  </a:lnTo>
                  <a:lnTo>
                    <a:pt x="369" y="885"/>
                  </a:lnTo>
                  <a:lnTo>
                    <a:pt x="369" y="890"/>
                  </a:lnTo>
                  <a:lnTo>
                    <a:pt x="369" y="891"/>
                  </a:lnTo>
                  <a:lnTo>
                    <a:pt x="254" y="1090"/>
                  </a:lnTo>
                  <a:lnTo>
                    <a:pt x="214" y="1159"/>
                  </a:lnTo>
                  <a:lnTo>
                    <a:pt x="124" y="1314"/>
                  </a:lnTo>
                  <a:lnTo>
                    <a:pt x="127" y="1315"/>
                  </a:lnTo>
                  <a:lnTo>
                    <a:pt x="130" y="1315"/>
                  </a:lnTo>
                  <a:lnTo>
                    <a:pt x="130" y="1321"/>
                  </a:lnTo>
                  <a:lnTo>
                    <a:pt x="133" y="1327"/>
                  </a:lnTo>
                  <a:lnTo>
                    <a:pt x="137" y="1331"/>
                  </a:lnTo>
                  <a:lnTo>
                    <a:pt x="140" y="1334"/>
                  </a:lnTo>
                  <a:lnTo>
                    <a:pt x="145" y="1336"/>
                  </a:lnTo>
                  <a:lnTo>
                    <a:pt x="149" y="1337"/>
                  </a:lnTo>
                  <a:lnTo>
                    <a:pt x="154" y="1337"/>
                  </a:lnTo>
                  <a:lnTo>
                    <a:pt x="158" y="1336"/>
                  </a:lnTo>
                  <a:lnTo>
                    <a:pt x="165" y="1333"/>
                  </a:lnTo>
                  <a:lnTo>
                    <a:pt x="173" y="1331"/>
                  </a:lnTo>
                  <a:lnTo>
                    <a:pt x="180" y="1330"/>
                  </a:lnTo>
                  <a:lnTo>
                    <a:pt x="187" y="1330"/>
                  </a:lnTo>
                  <a:lnTo>
                    <a:pt x="196" y="1330"/>
                  </a:lnTo>
                  <a:lnTo>
                    <a:pt x="203" y="1331"/>
                  </a:lnTo>
                  <a:lnTo>
                    <a:pt x="211" y="1334"/>
                  </a:lnTo>
                  <a:lnTo>
                    <a:pt x="219" y="1338"/>
                  </a:lnTo>
                  <a:lnTo>
                    <a:pt x="230" y="1344"/>
                  </a:lnTo>
                  <a:lnTo>
                    <a:pt x="240" y="1353"/>
                  </a:lnTo>
                  <a:lnTo>
                    <a:pt x="247" y="1363"/>
                  </a:lnTo>
                  <a:lnTo>
                    <a:pt x="253" y="1375"/>
                  </a:lnTo>
                  <a:lnTo>
                    <a:pt x="256" y="1387"/>
                  </a:lnTo>
                  <a:lnTo>
                    <a:pt x="257" y="1398"/>
                  </a:lnTo>
                  <a:lnTo>
                    <a:pt x="256" y="1410"/>
                  </a:lnTo>
                  <a:lnTo>
                    <a:pt x="252" y="1420"/>
                  </a:lnTo>
                  <a:lnTo>
                    <a:pt x="252" y="1422"/>
                  </a:lnTo>
                  <a:lnTo>
                    <a:pt x="244" y="1431"/>
                  </a:lnTo>
                  <a:lnTo>
                    <a:pt x="235" y="1439"/>
                  </a:lnTo>
                  <a:lnTo>
                    <a:pt x="224" y="1444"/>
                  </a:lnTo>
                  <a:lnTo>
                    <a:pt x="214" y="1448"/>
                  </a:lnTo>
                  <a:lnTo>
                    <a:pt x="200" y="1450"/>
                  </a:lnTo>
                  <a:lnTo>
                    <a:pt x="189" y="1448"/>
                  </a:lnTo>
                  <a:lnTo>
                    <a:pt x="175" y="1445"/>
                  </a:lnTo>
                  <a:lnTo>
                    <a:pt x="164" y="1439"/>
                  </a:lnTo>
                  <a:lnTo>
                    <a:pt x="156" y="1435"/>
                  </a:lnTo>
                  <a:lnTo>
                    <a:pt x="151" y="1429"/>
                  </a:lnTo>
                  <a:lnTo>
                    <a:pt x="145" y="1423"/>
                  </a:lnTo>
                  <a:lnTo>
                    <a:pt x="139" y="1417"/>
                  </a:lnTo>
                  <a:lnTo>
                    <a:pt x="136" y="1412"/>
                  </a:lnTo>
                  <a:lnTo>
                    <a:pt x="133" y="1404"/>
                  </a:lnTo>
                  <a:lnTo>
                    <a:pt x="130" y="1397"/>
                  </a:lnTo>
                  <a:lnTo>
                    <a:pt x="129" y="1390"/>
                  </a:lnTo>
                  <a:lnTo>
                    <a:pt x="127" y="1385"/>
                  </a:lnTo>
                  <a:lnTo>
                    <a:pt x="124" y="1381"/>
                  </a:lnTo>
                  <a:lnTo>
                    <a:pt x="121" y="1378"/>
                  </a:lnTo>
                  <a:lnTo>
                    <a:pt x="118" y="1375"/>
                  </a:lnTo>
                  <a:lnTo>
                    <a:pt x="114" y="1375"/>
                  </a:lnTo>
                  <a:lnTo>
                    <a:pt x="108" y="1374"/>
                  </a:lnTo>
                  <a:lnTo>
                    <a:pt x="102" y="1374"/>
                  </a:lnTo>
                  <a:lnTo>
                    <a:pt x="97" y="1377"/>
                  </a:lnTo>
                  <a:lnTo>
                    <a:pt x="97" y="1378"/>
                  </a:lnTo>
                  <a:lnTo>
                    <a:pt x="95" y="1379"/>
                  </a:lnTo>
                  <a:lnTo>
                    <a:pt x="92" y="1378"/>
                  </a:lnTo>
                  <a:lnTo>
                    <a:pt x="89" y="1375"/>
                  </a:lnTo>
                  <a:lnTo>
                    <a:pt x="0" y="1530"/>
                  </a:lnTo>
                  <a:lnTo>
                    <a:pt x="70" y="1568"/>
                  </a:lnTo>
                  <a:lnTo>
                    <a:pt x="142" y="1603"/>
                  </a:lnTo>
                  <a:lnTo>
                    <a:pt x="215" y="1632"/>
                  </a:lnTo>
                  <a:lnTo>
                    <a:pt x="290" y="1660"/>
                  </a:lnTo>
                  <a:lnTo>
                    <a:pt x="363" y="1682"/>
                  </a:lnTo>
                  <a:lnTo>
                    <a:pt x="439" y="1701"/>
                  </a:lnTo>
                  <a:lnTo>
                    <a:pt x="513" y="1716"/>
                  </a:lnTo>
                  <a:lnTo>
                    <a:pt x="589" y="1727"/>
                  </a:lnTo>
                  <a:lnTo>
                    <a:pt x="665" y="1735"/>
                  </a:lnTo>
                  <a:lnTo>
                    <a:pt x="741" y="1738"/>
                  </a:lnTo>
                  <a:lnTo>
                    <a:pt x="818" y="1738"/>
                  </a:lnTo>
                  <a:lnTo>
                    <a:pt x="892" y="1735"/>
                  </a:lnTo>
                  <a:lnTo>
                    <a:pt x="968" y="1727"/>
                  </a:lnTo>
                  <a:lnTo>
                    <a:pt x="1043" y="1716"/>
                  </a:lnTo>
                  <a:lnTo>
                    <a:pt x="1116" y="1701"/>
                  </a:lnTo>
                  <a:lnTo>
                    <a:pt x="1189" y="1684"/>
                  </a:lnTo>
                  <a:lnTo>
                    <a:pt x="1262" y="1663"/>
                  </a:lnTo>
                  <a:lnTo>
                    <a:pt x="1332" y="1638"/>
                  </a:lnTo>
                  <a:lnTo>
                    <a:pt x="1403" y="1610"/>
                  </a:lnTo>
                  <a:lnTo>
                    <a:pt x="1471" y="1578"/>
                  </a:lnTo>
                  <a:lnTo>
                    <a:pt x="1539" y="1543"/>
                  </a:lnTo>
                  <a:lnTo>
                    <a:pt x="1604" y="1505"/>
                  </a:lnTo>
                  <a:lnTo>
                    <a:pt x="1667" y="1464"/>
                  </a:lnTo>
                  <a:lnTo>
                    <a:pt x="1730" y="1420"/>
                  </a:lnTo>
                  <a:lnTo>
                    <a:pt x="1790" y="1372"/>
                  </a:lnTo>
                  <a:lnTo>
                    <a:pt x="1847" y="1322"/>
                  </a:lnTo>
                  <a:lnTo>
                    <a:pt x="1903" y="1268"/>
                  </a:lnTo>
                  <a:lnTo>
                    <a:pt x="1957" y="1211"/>
                  </a:lnTo>
                  <a:lnTo>
                    <a:pt x="2007" y="1151"/>
                  </a:lnTo>
                  <a:lnTo>
                    <a:pt x="2055" y="1088"/>
                  </a:lnTo>
                  <a:lnTo>
                    <a:pt x="2100" y="1023"/>
                  </a:lnTo>
                  <a:lnTo>
                    <a:pt x="2141" y="954"/>
                  </a:lnTo>
                  <a:lnTo>
                    <a:pt x="2167" y="907"/>
                  </a:lnTo>
                  <a:lnTo>
                    <a:pt x="2192" y="859"/>
                  </a:lnTo>
                  <a:lnTo>
                    <a:pt x="2214" y="811"/>
                  </a:lnTo>
                  <a:lnTo>
                    <a:pt x="2236" y="762"/>
                  </a:lnTo>
                  <a:lnTo>
                    <a:pt x="2255" y="714"/>
                  </a:lnTo>
                  <a:lnTo>
                    <a:pt x="2271" y="664"/>
                  </a:lnTo>
                  <a:lnTo>
                    <a:pt x="2287" y="615"/>
                  </a:lnTo>
                  <a:lnTo>
                    <a:pt x="2301" y="565"/>
                  </a:lnTo>
                  <a:lnTo>
                    <a:pt x="2314" y="514"/>
                  </a:lnTo>
                  <a:lnTo>
                    <a:pt x="2324" y="464"/>
                  </a:lnTo>
                  <a:lnTo>
                    <a:pt x="2333" y="413"/>
                  </a:lnTo>
                  <a:lnTo>
                    <a:pt x="2340" y="363"/>
                  </a:lnTo>
                  <a:lnTo>
                    <a:pt x="2344" y="312"/>
                  </a:lnTo>
                  <a:lnTo>
                    <a:pt x="2349" y="261"/>
                  </a:lnTo>
                  <a:lnTo>
                    <a:pt x="2350" y="210"/>
                  </a:lnTo>
                  <a:lnTo>
                    <a:pt x="2350" y="160"/>
                  </a:lnTo>
                  <a:lnTo>
                    <a:pt x="2173" y="160"/>
                  </a:lnTo>
                  <a:lnTo>
                    <a:pt x="2173" y="158"/>
                  </a:lnTo>
                  <a:lnTo>
                    <a:pt x="2173" y="157"/>
                  </a:lnTo>
                  <a:lnTo>
                    <a:pt x="2172" y="157"/>
                  </a:lnTo>
                  <a:lnTo>
                    <a:pt x="2170" y="157"/>
                  </a:lnTo>
                  <a:lnTo>
                    <a:pt x="2166" y="154"/>
                  </a:lnTo>
                  <a:lnTo>
                    <a:pt x="2162" y="148"/>
                  </a:lnTo>
                  <a:lnTo>
                    <a:pt x="2160" y="142"/>
                  </a:lnTo>
                  <a:lnTo>
                    <a:pt x="2159" y="139"/>
                  </a:lnTo>
                  <a:lnTo>
                    <a:pt x="2159" y="135"/>
                  </a:lnTo>
                  <a:lnTo>
                    <a:pt x="2160" y="131"/>
                  </a:lnTo>
                  <a:lnTo>
                    <a:pt x="2162" y="126"/>
                  </a:lnTo>
                  <a:lnTo>
                    <a:pt x="2166" y="123"/>
                  </a:lnTo>
                  <a:lnTo>
                    <a:pt x="2172" y="117"/>
                  </a:lnTo>
                  <a:lnTo>
                    <a:pt x="2176" y="112"/>
                  </a:lnTo>
                  <a:lnTo>
                    <a:pt x="2181" y="106"/>
                  </a:lnTo>
                  <a:lnTo>
                    <a:pt x="2184" y="98"/>
                  </a:lnTo>
                  <a:lnTo>
                    <a:pt x="2188" y="91"/>
                  </a:lnTo>
                  <a:lnTo>
                    <a:pt x="2189" y="84"/>
                  </a:lnTo>
                  <a:lnTo>
                    <a:pt x="2191" y="77"/>
                  </a:lnTo>
                  <a:lnTo>
                    <a:pt x="2191" y="68"/>
                  </a:lnTo>
                  <a:lnTo>
                    <a:pt x="2189" y="55"/>
                  </a:lnTo>
                  <a:lnTo>
                    <a:pt x="2186" y="41"/>
                  </a:lnTo>
                  <a:lnTo>
                    <a:pt x="2181" y="30"/>
                  </a:lnTo>
                  <a:lnTo>
                    <a:pt x="2173" y="21"/>
                  </a:lnTo>
                  <a:lnTo>
                    <a:pt x="2164" y="12"/>
                  </a:lnTo>
                  <a:lnTo>
                    <a:pt x="2156" y="6"/>
                  </a:lnTo>
                  <a:lnTo>
                    <a:pt x="2144" y="2"/>
                  </a:lnTo>
                  <a:lnTo>
                    <a:pt x="2132" y="0"/>
                  </a:lnTo>
                  <a:lnTo>
                    <a:pt x="2131" y="0"/>
                  </a:lnTo>
                  <a:lnTo>
                    <a:pt x="2119" y="2"/>
                  </a:lnTo>
                  <a:lnTo>
                    <a:pt x="2109" y="8"/>
                  </a:lnTo>
                  <a:lnTo>
                    <a:pt x="2099" y="14"/>
                  </a:lnTo>
                  <a:lnTo>
                    <a:pt x="2091" y="22"/>
                  </a:lnTo>
                  <a:lnTo>
                    <a:pt x="2084" y="33"/>
                  </a:lnTo>
                  <a:lnTo>
                    <a:pt x="2080" y="44"/>
                  </a:lnTo>
                  <a:lnTo>
                    <a:pt x="2077" y="58"/>
                  </a:lnTo>
                  <a:lnTo>
                    <a:pt x="2075" y="71"/>
                  </a:lnTo>
                  <a:lnTo>
                    <a:pt x="2077" y="79"/>
                  </a:lnTo>
                  <a:lnTo>
                    <a:pt x="2078" y="87"/>
                  </a:lnTo>
                  <a:lnTo>
                    <a:pt x="2081" y="94"/>
                  </a:lnTo>
                  <a:lnTo>
                    <a:pt x="2084" y="101"/>
                  </a:lnTo>
                  <a:lnTo>
                    <a:pt x="2088" y="109"/>
                  </a:lnTo>
                  <a:lnTo>
                    <a:pt x="2093" y="115"/>
                  </a:lnTo>
                  <a:lnTo>
                    <a:pt x="2099" y="119"/>
                  </a:lnTo>
                  <a:lnTo>
                    <a:pt x="2103" y="125"/>
                  </a:lnTo>
                  <a:lnTo>
                    <a:pt x="2107" y="128"/>
                  </a:lnTo>
                  <a:lnTo>
                    <a:pt x="2110" y="132"/>
                  </a:lnTo>
                  <a:lnTo>
                    <a:pt x="2112" y="135"/>
                  </a:lnTo>
                  <a:lnTo>
                    <a:pt x="2112" y="139"/>
                  </a:lnTo>
                  <a:lnTo>
                    <a:pt x="2110" y="144"/>
                  </a:lnTo>
                  <a:lnTo>
                    <a:pt x="2109" y="150"/>
                  </a:lnTo>
                  <a:lnTo>
                    <a:pt x="2105" y="155"/>
                  </a:lnTo>
                  <a:lnTo>
                    <a:pt x="2100" y="158"/>
                  </a:lnTo>
                  <a:lnTo>
                    <a:pt x="2100" y="160"/>
                  </a:lnTo>
                  <a:lnTo>
                    <a:pt x="1612" y="158"/>
                  </a:lnTo>
                  <a:lnTo>
                    <a:pt x="1607" y="163"/>
                  </a:lnTo>
                  <a:lnTo>
                    <a:pt x="1603" y="167"/>
                  </a:lnTo>
                  <a:lnTo>
                    <a:pt x="1601" y="172"/>
                  </a:lnTo>
                  <a:lnTo>
                    <a:pt x="1600" y="176"/>
                  </a:lnTo>
                  <a:lnTo>
                    <a:pt x="1600" y="180"/>
                  </a:lnTo>
                  <a:lnTo>
                    <a:pt x="1600" y="183"/>
                  </a:lnTo>
                  <a:lnTo>
                    <a:pt x="1603" y="188"/>
                  </a:lnTo>
                  <a:lnTo>
                    <a:pt x="1606" y="192"/>
                  </a:lnTo>
                  <a:lnTo>
                    <a:pt x="1610" y="198"/>
                  </a:lnTo>
                  <a:lnTo>
                    <a:pt x="1616" y="204"/>
                  </a:lnTo>
                  <a:lnTo>
                    <a:pt x="1619" y="210"/>
                  </a:lnTo>
                  <a:lnTo>
                    <a:pt x="1622" y="217"/>
                  </a:lnTo>
                  <a:lnTo>
                    <a:pt x="1625" y="224"/>
                  </a:lnTo>
                  <a:lnTo>
                    <a:pt x="1626" y="232"/>
                  </a:lnTo>
                  <a:lnTo>
                    <a:pt x="1628" y="240"/>
                  </a:lnTo>
                  <a:lnTo>
                    <a:pt x="1628" y="249"/>
                  </a:lnTo>
                  <a:lnTo>
                    <a:pt x="1625" y="262"/>
                  </a:lnTo>
                  <a:lnTo>
                    <a:pt x="1620" y="274"/>
                  </a:lnTo>
                  <a:lnTo>
                    <a:pt x="1615" y="286"/>
                  </a:lnTo>
                  <a:lnTo>
                    <a:pt x="1607" y="294"/>
                  </a:lnTo>
                  <a:lnTo>
                    <a:pt x="1597" y="302"/>
                  </a:lnTo>
                  <a:lnTo>
                    <a:pt x="1587" y="308"/>
                  </a:lnTo>
                  <a:lnTo>
                    <a:pt x="1577" y="310"/>
                  </a:lnTo>
                  <a:lnTo>
                    <a:pt x="1563" y="312"/>
                  </a:lnTo>
                  <a:lnTo>
                    <a:pt x="1552" y="309"/>
                  </a:lnTo>
                  <a:lnTo>
                    <a:pt x="1541" y="303"/>
                  </a:lnTo>
                  <a:lnTo>
                    <a:pt x="1531" y="296"/>
                  </a:lnTo>
                  <a:lnTo>
                    <a:pt x="1524" y="287"/>
                  </a:lnTo>
                  <a:lnTo>
                    <a:pt x="1518" y="277"/>
                  </a:lnTo>
                  <a:lnTo>
                    <a:pt x="1514" y="264"/>
                  </a:lnTo>
                  <a:lnTo>
                    <a:pt x="1512" y="252"/>
                  </a:lnTo>
                  <a:lnTo>
                    <a:pt x="1512" y="239"/>
                  </a:lnTo>
                  <a:lnTo>
                    <a:pt x="1514" y="230"/>
                  </a:lnTo>
                  <a:lnTo>
                    <a:pt x="1517" y="223"/>
                  </a:lnTo>
                  <a:lnTo>
                    <a:pt x="1520" y="214"/>
                  </a:lnTo>
                  <a:lnTo>
                    <a:pt x="1522" y="208"/>
                  </a:lnTo>
                  <a:lnTo>
                    <a:pt x="1527" y="201"/>
                  </a:lnTo>
                  <a:lnTo>
                    <a:pt x="1533" y="195"/>
                  </a:lnTo>
                  <a:lnTo>
                    <a:pt x="1539" y="191"/>
                  </a:lnTo>
                  <a:lnTo>
                    <a:pt x="1544" y="186"/>
                  </a:lnTo>
                  <a:lnTo>
                    <a:pt x="1547" y="183"/>
                  </a:lnTo>
                  <a:lnTo>
                    <a:pt x="1550" y="179"/>
                  </a:lnTo>
                  <a:lnTo>
                    <a:pt x="1552" y="176"/>
                  </a:lnTo>
                  <a:lnTo>
                    <a:pt x="1553" y="172"/>
                  </a:lnTo>
                  <a:lnTo>
                    <a:pt x="1552" y="166"/>
                  </a:lnTo>
                  <a:lnTo>
                    <a:pt x="1549" y="158"/>
                  </a:lnTo>
                  <a:lnTo>
                    <a:pt x="1401" y="158"/>
                  </a:lnTo>
                  <a:lnTo>
                    <a:pt x="1401" y="199"/>
                  </a:lnTo>
                  <a:lnTo>
                    <a:pt x="1398" y="240"/>
                  </a:lnTo>
                  <a:lnTo>
                    <a:pt x="1392" y="281"/>
                  </a:lnTo>
                  <a:lnTo>
                    <a:pt x="1382" y="322"/>
                  </a:lnTo>
                  <a:lnTo>
                    <a:pt x="1372" y="362"/>
                  </a:lnTo>
                  <a:lnTo>
                    <a:pt x="1357" y="403"/>
                  </a:lnTo>
                  <a:lnTo>
                    <a:pt x="1348" y="422"/>
                  </a:lnTo>
                  <a:lnTo>
                    <a:pt x="1340" y="441"/>
                  </a:lnTo>
                  <a:lnTo>
                    <a:pt x="1329" y="460"/>
                  </a:lnTo>
                  <a:lnTo>
                    <a:pt x="1319" y="479"/>
                  </a:lnTo>
                  <a:lnTo>
                    <a:pt x="1302" y="506"/>
                  </a:lnTo>
                  <a:lnTo>
                    <a:pt x="1284" y="533"/>
                  </a:lnTo>
                  <a:lnTo>
                    <a:pt x="1265" y="558"/>
                  </a:lnTo>
                  <a:lnTo>
                    <a:pt x="1246" y="581"/>
                  </a:lnTo>
                  <a:lnTo>
                    <a:pt x="1226" y="603"/>
                  </a:lnTo>
                  <a:lnTo>
                    <a:pt x="1204" y="623"/>
                  </a:lnTo>
                  <a:lnTo>
                    <a:pt x="1180" y="644"/>
                  </a:lnTo>
                  <a:lnTo>
                    <a:pt x="1157" y="663"/>
                  </a:lnTo>
                  <a:lnTo>
                    <a:pt x="1132" y="680"/>
                  </a:lnTo>
                  <a:lnTo>
                    <a:pt x="1107" y="697"/>
                  </a:lnTo>
                  <a:lnTo>
                    <a:pt x="1081" y="711"/>
                  </a:lnTo>
                  <a:lnTo>
                    <a:pt x="1054" y="726"/>
                  </a:lnTo>
                  <a:lnTo>
                    <a:pt x="1028" y="737"/>
                  </a:lnTo>
                  <a:lnTo>
                    <a:pt x="1000" y="749"/>
                  </a:lnTo>
                  <a:lnTo>
                    <a:pt x="973" y="758"/>
                  </a:lnTo>
                  <a:lnTo>
                    <a:pt x="943" y="767"/>
                  </a:lnTo>
                  <a:lnTo>
                    <a:pt x="916" y="774"/>
                  </a:lnTo>
                  <a:lnTo>
                    <a:pt x="886" y="780"/>
                  </a:lnTo>
                  <a:lnTo>
                    <a:pt x="856" y="784"/>
                  </a:lnTo>
                  <a:lnTo>
                    <a:pt x="826" y="787"/>
                  </a:lnTo>
                  <a:lnTo>
                    <a:pt x="797" y="789"/>
                  </a:lnTo>
                  <a:lnTo>
                    <a:pt x="766" y="789"/>
                  </a:lnTo>
                  <a:lnTo>
                    <a:pt x="737" y="787"/>
                  </a:lnTo>
                  <a:lnTo>
                    <a:pt x="708" y="784"/>
                  </a:lnTo>
                  <a:lnTo>
                    <a:pt x="677" y="780"/>
                  </a:lnTo>
                  <a:lnTo>
                    <a:pt x="648" y="774"/>
                  </a:lnTo>
                  <a:lnTo>
                    <a:pt x="619" y="767"/>
                  </a:lnTo>
                  <a:lnTo>
                    <a:pt x="589" y="758"/>
                  </a:lnTo>
                  <a:lnTo>
                    <a:pt x="560" y="748"/>
                  </a:lnTo>
                  <a:lnTo>
                    <a:pt x="531" y="736"/>
                  </a:lnTo>
                  <a:lnTo>
                    <a:pt x="503" y="723"/>
                  </a:lnTo>
                  <a:lnTo>
                    <a:pt x="475" y="707"/>
                  </a:lnTo>
                  <a:lnTo>
                    <a:pt x="401" y="835"/>
                  </a:lnTo>
                </a:path>
              </a:pathLst>
            </a:custGeom>
            <a:blipFill dpi="0"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l="670" r="670"/>
              </a:stretch>
            </a:blipFill>
            <a:ln w="28575" cmpd="sng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4157" tIns="32078" rIns="64157" bIns="32078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400"/>
            </a:p>
          </p:txBody>
        </p:sp>
        <p:sp>
          <p:nvSpPr>
            <p:cNvPr id="7" name="Freeform 12"/>
            <p:cNvSpPr>
              <a:spLocks/>
            </p:cNvSpPr>
            <p:nvPr/>
          </p:nvSpPr>
          <p:spPr bwMode="gray">
            <a:xfrm flipH="1">
              <a:off x="4940641" y="1817058"/>
              <a:ext cx="2069577" cy="4295488"/>
            </a:xfrm>
            <a:custGeom>
              <a:avLst/>
              <a:gdLst>
                <a:gd name="T0" fmla="*/ 2147483647 w 1312"/>
                <a:gd name="T1" fmla="*/ 2147483647 h 2722"/>
                <a:gd name="T2" fmla="*/ 2147483647 w 1312"/>
                <a:gd name="T3" fmla="*/ 2147483647 h 2722"/>
                <a:gd name="T4" fmla="*/ 2147483647 w 1312"/>
                <a:gd name="T5" fmla="*/ 2147483647 h 2722"/>
                <a:gd name="T6" fmla="*/ 2147483647 w 1312"/>
                <a:gd name="T7" fmla="*/ 2147483647 h 2722"/>
                <a:gd name="T8" fmla="*/ 2147483647 w 1312"/>
                <a:gd name="T9" fmla="*/ 2147483647 h 2722"/>
                <a:gd name="T10" fmla="*/ 2147483647 w 1312"/>
                <a:gd name="T11" fmla="*/ 2147483647 h 2722"/>
                <a:gd name="T12" fmla="*/ 2147483647 w 1312"/>
                <a:gd name="T13" fmla="*/ 2147483647 h 2722"/>
                <a:gd name="T14" fmla="*/ 2147483647 w 1312"/>
                <a:gd name="T15" fmla="*/ 2147483647 h 2722"/>
                <a:gd name="T16" fmla="*/ 2147483647 w 1312"/>
                <a:gd name="T17" fmla="*/ 2147483647 h 2722"/>
                <a:gd name="T18" fmla="*/ 2147483647 w 1312"/>
                <a:gd name="T19" fmla="*/ 2147483647 h 2722"/>
                <a:gd name="T20" fmla="*/ 2147483647 w 1312"/>
                <a:gd name="T21" fmla="*/ 2147483647 h 2722"/>
                <a:gd name="T22" fmla="*/ 2147483647 w 1312"/>
                <a:gd name="T23" fmla="*/ 2147483647 h 2722"/>
                <a:gd name="T24" fmla="*/ 2147483647 w 1312"/>
                <a:gd name="T25" fmla="*/ 2147483647 h 2722"/>
                <a:gd name="T26" fmla="*/ 2147483647 w 1312"/>
                <a:gd name="T27" fmla="*/ 2147483647 h 2722"/>
                <a:gd name="T28" fmla="*/ 2147483647 w 1312"/>
                <a:gd name="T29" fmla="*/ 2147483647 h 2722"/>
                <a:gd name="T30" fmla="*/ 2147483647 w 1312"/>
                <a:gd name="T31" fmla="*/ 2147483647 h 2722"/>
                <a:gd name="T32" fmla="*/ 2147483647 w 1312"/>
                <a:gd name="T33" fmla="*/ 2147483647 h 2722"/>
                <a:gd name="T34" fmla="*/ 2147483647 w 1312"/>
                <a:gd name="T35" fmla="*/ 2147483647 h 2722"/>
                <a:gd name="T36" fmla="*/ 2147483647 w 1312"/>
                <a:gd name="T37" fmla="*/ 2147483647 h 2722"/>
                <a:gd name="T38" fmla="*/ 2147483647 w 1312"/>
                <a:gd name="T39" fmla="*/ 2147483647 h 2722"/>
                <a:gd name="T40" fmla="*/ 2147483647 w 1312"/>
                <a:gd name="T41" fmla="*/ 2147483647 h 2722"/>
                <a:gd name="T42" fmla="*/ 2147483647 w 1312"/>
                <a:gd name="T43" fmla="*/ 2147483647 h 2722"/>
                <a:gd name="T44" fmla="*/ 2147483647 w 1312"/>
                <a:gd name="T45" fmla="*/ 2147483647 h 2722"/>
                <a:gd name="T46" fmla="*/ 2147483647 w 1312"/>
                <a:gd name="T47" fmla="*/ 2147483647 h 2722"/>
                <a:gd name="T48" fmla="*/ 2147483647 w 1312"/>
                <a:gd name="T49" fmla="*/ 2147483647 h 2722"/>
                <a:gd name="T50" fmla="*/ 2147483647 w 1312"/>
                <a:gd name="T51" fmla="*/ 2147483647 h 2722"/>
                <a:gd name="T52" fmla="*/ 2147483647 w 1312"/>
                <a:gd name="T53" fmla="*/ 2147483647 h 2722"/>
                <a:gd name="T54" fmla="*/ 2147483647 w 1312"/>
                <a:gd name="T55" fmla="*/ 2147483647 h 2722"/>
                <a:gd name="T56" fmla="*/ 2147483647 w 1312"/>
                <a:gd name="T57" fmla="*/ 2147483647 h 2722"/>
                <a:gd name="T58" fmla="*/ 2147483647 w 1312"/>
                <a:gd name="T59" fmla="*/ 2147483647 h 2722"/>
                <a:gd name="T60" fmla="*/ 2147483647 w 1312"/>
                <a:gd name="T61" fmla="*/ 2147483647 h 2722"/>
                <a:gd name="T62" fmla="*/ 2147483647 w 1312"/>
                <a:gd name="T63" fmla="*/ 2147483647 h 2722"/>
                <a:gd name="T64" fmla="*/ 2147483647 w 1312"/>
                <a:gd name="T65" fmla="*/ 2147483647 h 2722"/>
                <a:gd name="T66" fmla="*/ 2147483647 w 1312"/>
                <a:gd name="T67" fmla="*/ 2147483647 h 2722"/>
                <a:gd name="T68" fmla="*/ 2147483647 w 1312"/>
                <a:gd name="T69" fmla="*/ 2147483647 h 2722"/>
                <a:gd name="T70" fmla="*/ 2147483647 w 1312"/>
                <a:gd name="T71" fmla="*/ 2147483647 h 2722"/>
                <a:gd name="T72" fmla="*/ 2147483647 w 1312"/>
                <a:gd name="T73" fmla="*/ 2147483647 h 2722"/>
                <a:gd name="T74" fmla="*/ 2147483647 w 1312"/>
                <a:gd name="T75" fmla="*/ 2147483647 h 2722"/>
                <a:gd name="T76" fmla="*/ 2147483647 w 1312"/>
                <a:gd name="T77" fmla="*/ 2147483647 h 2722"/>
                <a:gd name="T78" fmla="*/ 2147483647 w 1312"/>
                <a:gd name="T79" fmla="*/ 2147483647 h 2722"/>
                <a:gd name="T80" fmla="*/ 2147483647 w 1312"/>
                <a:gd name="T81" fmla="*/ 2147483647 h 2722"/>
                <a:gd name="T82" fmla="*/ 2147483647 w 1312"/>
                <a:gd name="T83" fmla="*/ 2147483647 h 2722"/>
                <a:gd name="T84" fmla="*/ 2147483647 w 1312"/>
                <a:gd name="T85" fmla="*/ 2147483647 h 2722"/>
                <a:gd name="T86" fmla="*/ 2147483647 w 1312"/>
                <a:gd name="T87" fmla="*/ 2147483647 h 2722"/>
                <a:gd name="T88" fmla="*/ 2147483647 w 1312"/>
                <a:gd name="T89" fmla="*/ 2147483647 h 2722"/>
                <a:gd name="T90" fmla="*/ 2147483647 w 1312"/>
                <a:gd name="T91" fmla="*/ 2147483647 h 2722"/>
                <a:gd name="T92" fmla="*/ 2147483647 w 1312"/>
                <a:gd name="T93" fmla="*/ 2147483647 h 2722"/>
                <a:gd name="T94" fmla="*/ 2147483647 w 1312"/>
                <a:gd name="T95" fmla="*/ 2147483647 h 2722"/>
                <a:gd name="T96" fmla="*/ 2147483647 w 1312"/>
                <a:gd name="T97" fmla="*/ 2147483647 h 2722"/>
                <a:gd name="T98" fmla="*/ 2147483647 w 1312"/>
                <a:gd name="T99" fmla="*/ 2147483647 h 2722"/>
                <a:gd name="T100" fmla="*/ 2147483647 w 1312"/>
                <a:gd name="T101" fmla="*/ 2147483647 h 2722"/>
                <a:gd name="T102" fmla="*/ 2147483647 w 1312"/>
                <a:gd name="T103" fmla="*/ 2147483647 h 2722"/>
                <a:gd name="T104" fmla="*/ 2147483647 w 1312"/>
                <a:gd name="T105" fmla="*/ 2147483647 h 2722"/>
                <a:gd name="T106" fmla="*/ 2147483647 w 1312"/>
                <a:gd name="T107" fmla="*/ 2147483647 h 272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312" h="2722">
                  <a:moveTo>
                    <a:pt x="1182" y="695"/>
                  </a:moveTo>
                  <a:lnTo>
                    <a:pt x="1188" y="689"/>
                  </a:lnTo>
                  <a:lnTo>
                    <a:pt x="1192" y="686"/>
                  </a:lnTo>
                  <a:lnTo>
                    <a:pt x="1197" y="683"/>
                  </a:lnTo>
                  <a:lnTo>
                    <a:pt x="1201" y="683"/>
                  </a:lnTo>
                  <a:lnTo>
                    <a:pt x="1205" y="683"/>
                  </a:lnTo>
                  <a:lnTo>
                    <a:pt x="1210" y="686"/>
                  </a:lnTo>
                  <a:lnTo>
                    <a:pt x="1217" y="689"/>
                  </a:lnTo>
                  <a:lnTo>
                    <a:pt x="1223" y="690"/>
                  </a:lnTo>
                  <a:lnTo>
                    <a:pt x="1232" y="692"/>
                  </a:lnTo>
                  <a:lnTo>
                    <a:pt x="1239" y="693"/>
                  </a:lnTo>
                  <a:lnTo>
                    <a:pt x="1246" y="693"/>
                  </a:lnTo>
                  <a:lnTo>
                    <a:pt x="1255" y="692"/>
                  </a:lnTo>
                  <a:lnTo>
                    <a:pt x="1262" y="690"/>
                  </a:lnTo>
                  <a:lnTo>
                    <a:pt x="1270" y="688"/>
                  </a:lnTo>
                  <a:lnTo>
                    <a:pt x="1281" y="680"/>
                  </a:lnTo>
                  <a:lnTo>
                    <a:pt x="1292" y="673"/>
                  </a:lnTo>
                  <a:lnTo>
                    <a:pt x="1300" y="663"/>
                  </a:lnTo>
                  <a:lnTo>
                    <a:pt x="1306" y="652"/>
                  </a:lnTo>
                  <a:lnTo>
                    <a:pt x="1311" y="641"/>
                  </a:lnTo>
                  <a:lnTo>
                    <a:pt x="1312" y="629"/>
                  </a:lnTo>
                  <a:lnTo>
                    <a:pt x="1312" y="617"/>
                  </a:lnTo>
                  <a:lnTo>
                    <a:pt x="1309" y="606"/>
                  </a:lnTo>
                  <a:lnTo>
                    <a:pt x="1308" y="606"/>
                  </a:lnTo>
                  <a:lnTo>
                    <a:pt x="1302" y="595"/>
                  </a:lnTo>
                  <a:lnTo>
                    <a:pt x="1293" y="587"/>
                  </a:lnTo>
                  <a:lnTo>
                    <a:pt x="1283" y="581"/>
                  </a:lnTo>
                  <a:lnTo>
                    <a:pt x="1271" y="576"/>
                  </a:lnTo>
                  <a:lnTo>
                    <a:pt x="1260" y="575"/>
                  </a:lnTo>
                  <a:lnTo>
                    <a:pt x="1248" y="575"/>
                  </a:lnTo>
                  <a:lnTo>
                    <a:pt x="1235" y="578"/>
                  </a:lnTo>
                  <a:lnTo>
                    <a:pt x="1222" y="582"/>
                  </a:lnTo>
                  <a:lnTo>
                    <a:pt x="1214" y="587"/>
                  </a:lnTo>
                  <a:lnTo>
                    <a:pt x="1208" y="591"/>
                  </a:lnTo>
                  <a:lnTo>
                    <a:pt x="1202" y="597"/>
                  </a:lnTo>
                  <a:lnTo>
                    <a:pt x="1197" y="603"/>
                  </a:lnTo>
                  <a:lnTo>
                    <a:pt x="1192" y="609"/>
                  </a:lnTo>
                  <a:lnTo>
                    <a:pt x="1188" y="616"/>
                  </a:lnTo>
                  <a:lnTo>
                    <a:pt x="1186" y="622"/>
                  </a:lnTo>
                  <a:lnTo>
                    <a:pt x="1183" y="629"/>
                  </a:lnTo>
                  <a:lnTo>
                    <a:pt x="1182" y="633"/>
                  </a:lnTo>
                  <a:lnTo>
                    <a:pt x="1179" y="638"/>
                  </a:lnTo>
                  <a:lnTo>
                    <a:pt x="1176" y="641"/>
                  </a:lnTo>
                  <a:lnTo>
                    <a:pt x="1172" y="642"/>
                  </a:lnTo>
                  <a:lnTo>
                    <a:pt x="1169" y="644"/>
                  </a:lnTo>
                  <a:lnTo>
                    <a:pt x="1163" y="644"/>
                  </a:lnTo>
                  <a:lnTo>
                    <a:pt x="1156" y="642"/>
                  </a:lnTo>
                  <a:lnTo>
                    <a:pt x="1151" y="639"/>
                  </a:lnTo>
                  <a:lnTo>
                    <a:pt x="1151" y="641"/>
                  </a:lnTo>
                  <a:lnTo>
                    <a:pt x="1036" y="440"/>
                  </a:lnTo>
                  <a:lnTo>
                    <a:pt x="996" y="372"/>
                  </a:lnTo>
                  <a:lnTo>
                    <a:pt x="907" y="218"/>
                  </a:lnTo>
                  <a:lnTo>
                    <a:pt x="904" y="220"/>
                  </a:lnTo>
                  <a:lnTo>
                    <a:pt x="903" y="221"/>
                  </a:lnTo>
                  <a:lnTo>
                    <a:pt x="897" y="218"/>
                  </a:lnTo>
                  <a:lnTo>
                    <a:pt x="891" y="218"/>
                  </a:lnTo>
                  <a:lnTo>
                    <a:pt x="885" y="220"/>
                  </a:lnTo>
                  <a:lnTo>
                    <a:pt x="881" y="221"/>
                  </a:lnTo>
                  <a:lnTo>
                    <a:pt x="878" y="223"/>
                  </a:lnTo>
                  <a:lnTo>
                    <a:pt x="875" y="227"/>
                  </a:lnTo>
                  <a:lnTo>
                    <a:pt x="872" y="230"/>
                  </a:lnTo>
                  <a:lnTo>
                    <a:pt x="871" y="236"/>
                  </a:lnTo>
                  <a:lnTo>
                    <a:pt x="871" y="243"/>
                  </a:lnTo>
                  <a:lnTo>
                    <a:pt x="868" y="250"/>
                  </a:lnTo>
                  <a:lnTo>
                    <a:pt x="865" y="256"/>
                  </a:lnTo>
                  <a:lnTo>
                    <a:pt x="862" y="263"/>
                  </a:lnTo>
                  <a:lnTo>
                    <a:pt x="857" y="269"/>
                  </a:lnTo>
                  <a:lnTo>
                    <a:pt x="851" y="277"/>
                  </a:lnTo>
                  <a:lnTo>
                    <a:pt x="846" y="281"/>
                  </a:lnTo>
                  <a:lnTo>
                    <a:pt x="838" y="287"/>
                  </a:lnTo>
                  <a:lnTo>
                    <a:pt x="827" y="293"/>
                  </a:lnTo>
                  <a:lnTo>
                    <a:pt x="813" y="297"/>
                  </a:lnTo>
                  <a:lnTo>
                    <a:pt x="802" y="299"/>
                  </a:lnTo>
                  <a:lnTo>
                    <a:pt x="790" y="297"/>
                  </a:lnTo>
                  <a:lnTo>
                    <a:pt x="778" y="294"/>
                  </a:lnTo>
                  <a:lnTo>
                    <a:pt x="767" y="290"/>
                  </a:lnTo>
                  <a:lnTo>
                    <a:pt x="758" y="282"/>
                  </a:lnTo>
                  <a:lnTo>
                    <a:pt x="751" y="274"/>
                  </a:lnTo>
                  <a:lnTo>
                    <a:pt x="749" y="274"/>
                  </a:lnTo>
                  <a:lnTo>
                    <a:pt x="749" y="272"/>
                  </a:lnTo>
                  <a:lnTo>
                    <a:pt x="745" y="262"/>
                  </a:lnTo>
                  <a:lnTo>
                    <a:pt x="743" y="250"/>
                  </a:lnTo>
                  <a:lnTo>
                    <a:pt x="743" y="239"/>
                  </a:lnTo>
                  <a:lnTo>
                    <a:pt x="746" y="227"/>
                  </a:lnTo>
                  <a:lnTo>
                    <a:pt x="751" y="215"/>
                  </a:lnTo>
                  <a:lnTo>
                    <a:pt x="758" y="205"/>
                  </a:lnTo>
                  <a:lnTo>
                    <a:pt x="767" y="196"/>
                  </a:lnTo>
                  <a:lnTo>
                    <a:pt x="778" y="187"/>
                  </a:lnTo>
                  <a:lnTo>
                    <a:pt x="786" y="185"/>
                  </a:lnTo>
                  <a:lnTo>
                    <a:pt x="793" y="182"/>
                  </a:lnTo>
                  <a:lnTo>
                    <a:pt x="802" y="179"/>
                  </a:lnTo>
                  <a:lnTo>
                    <a:pt x="809" y="179"/>
                  </a:lnTo>
                  <a:lnTo>
                    <a:pt x="816" y="177"/>
                  </a:lnTo>
                  <a:lnTo>
                    <a:pt x="824" y="179"/>
                  </a:lnTo>
                  <a:lnTo>
                    <a:pt x="831" y="180"/>
                  </a:lnTo>
                  <a:lnTo>
                    <a:pt x="838" y="182"/>
                  </a:lnTo>
                  <a:lnTo>
                    <a:pt x="844" y="183"/>
                  </a:lnTo>
                  <a:lnTo>
                    <a:pt x="849" y="183"/>
                  </a:lnTo>
                  <a:lnTo>
                    <a:pt x="853" y="183"/>
                  </a:lnTo>
                  <a:lnTo>
                    <a:pt x="856" y="180"/>
                  </a:lnTo>
                  <a:lnTo>
                    <a:pt x="859" y="177"/>
                  </a:lnTo>
                  <a:lnTo>
                    <a:pt x="863" y="173"/>
                  </a:lnTo>
                  <a:lnTo>
                    <a:pt x="865" y="167"/>
                  </a:lnTo>
                  <a:lnTo>
                    <a:pt x="866" y="161"/>
                  </a:lnTo>
                  <a:lnTo>
                    <a:pt x="865" y="160"/>
                  </a:lnTo>
                  <a:lnTo>
                    <a:pt x="865" y="158"/>
                  </a:lnTo>
                  <a:lnTo>
                    <a:pt x="868" y="157"/>
                  </a:lnTo>
                  <a:lnTo>
                    <a:pt x="871" y="155"/>
                  </a:lnTo>
                  <a:lnTo>
                    <a:pt x="781" y="0"/>
                  </a:lnTo>
                  <a:lnTo>
                    <a:pt x="713" y="43"/>
                  </a:lnTo>
                  <a:lnTo>
                    <a:pt x="647" y="88"/>
                  </a:lnTo>
                  <a:lnTo>
                    <a:pt x="584" y="136"/>
                  </a:lnTo>
                  <a:lnTo>
                    <a:pt x="525" y="186"/>
                  </a:lnTo>
                  <a:lnTo>
                    <a:pt x="468" y="240"/>
                  </a:lnTo>
                  <a:lnTo>
                    <a:pt x="414" y="296"/>
                  </a:lnTo>
                  <a:lnTo>
                    <a:pt x="364" y="353"/>
                  </a:lnTo>
                  <a:lnTo>
                    <a:pt x="316" y="413"/>
                  </a:lnTo>
                  <a:lnTo>
                    <a:pt x="272" y="476"/>
                  </a:lnTo>
                  <a:lnTo>
                    <a:pt x="231" y="538"/>
                  </a:lnTo>
                  <a:lnTo>
                    <a:pt x="193" y="604"/>
                  </a:lnTo>
                  <a:lnTo>
                    <a:pt x="158" y="671"/>
                  </a:lnTo>
                  <a:lnTo>
                    <a:pt x="128" y="740"/>
                  </a:lnTo>
                  <a:lnTo>
                    <a:pt x="100" y="810"/>
                  </a:lnTo>
                  <a:lnTo>
                    <a:pt x="75" y="882"/>
                  </a:lnTo>
                  <a:lnTo>
                    <a:pt x="53" y="954"/>
                  </a:lnTo>
                  <a:lnTo>
                    <a:pt x="35" y="1027"/>
                  </a:lnTo>
                  <a:lnTo>
                    <a:pt x="22" y="1101"/>
                  </a:lnTo>
                  <a:lnTo>
                    <a:pt x="11" y="1176"/>
                  </a:lnTo>
                  <a:lnTo>
                    <a:pt x="3" y="1251"/>
                  </a:lnTo>
                  <a:lnTo>
                    <a:pt x="0" y="1327"/>
                  </a:lnTo>
                  <a:lnTo>
                    <a:pt x="0" y="1403"/>
                  </a:lnTo>
                  <a:lnTo>
                    <a:pt x="5" y="1479"/>
                  </a:lnTo>
                  <a:lnTo>
                    <a:pt x="12" y="1555"/>
                  </a:lnTo>
                  <a:lnTo>
                    <a:pt x="22" y="1629"/>
                  </a:lnTo>
                  <a:lnTo>
                    <a:pt x="38" y="1705"/>
                  </a:lnTo>
                  <a:lnTo>
                    <a:pt x="57" y="1780"/>
                  </a:lnTo>
                  <a:lnTo>
                    <a:pt x="79" y="1854"/>
                  </a:lnTo>
                  <a:lnTo>
                    <a:pt x="106" y="1928"/>
                  </a:lnTo>
                  <a:lnTo>
                    <a:pt x="136" y="2001"/>
                  </a:lnTo>
                  <a:lnTo>
                    <a:pt x="171" y="2072"/>
                  </a:lnTo>
                  <a:lnTo>
                    <a:pt x="209" y="2144"/>
                  </a:lnTo>
                  <a:lnTo>
                    <a:pt x="237" y="2189"/>
                  </a:lnTo>
                  <a:lnTo>
                    <a:pt x="266" y="2235"/>
                  </a:lnTo>
                  <a:lnTo>
                    <a:pt x="297" y="2279"/>
                  </a:lnTo>
                  <a:lnTo>
                    <a:pt x="328" y="2321"/>
                  </a:lnTo>
                  <a:lnTo>
                    <a:pt x="362" y="2362"/>
                  </a:lnTo>
                  <a:lnTo>
                    <a:pt x="395" y="2401"/>
                  </a:lnTo>
                  <a:lnTo>
                    <a:pt x="430" y="2439"/>
                  </a:lnTo>
                  <a:lnTo>
                    <a:pt x="467" y="2476"/>
                  </a:lnTo>
                  <a:lnTo>
                    <a:pt x="505" y="2512"/>
                  </a:lnTo>
                  <a:lnTo>
                    <a:pt x="543" y="2546"/>
                  </a:lnTo>
                  <a:lnTo>
                    <a:pt x="582" y="2580"/>
                  </a:lnTo>
                  <a:lnTo>
                    <a:pt x="623" y="2610"/>
                  </a:lnTo>
                  <a:lnTo>
                    <a:pt x="664" y="2641"/>
                  </a:lnTo>
                  <a:lnTo>
                    <a:pt x="707" y="2669"/>
                  </a:lnTo>
                  <a:lnTo>
                    <a:pt x="749" y="2697"/>
                  </a:lnTo>
                  <a:lnTo>
                    <a:pt x="793" y="2722"/>
                  </a:lnTo>
                  <a:lnTo>
                    <a:pt x="881" y="2568"/>
                  </a:lnTo>
                  <a:lnTo>
                    <a:pt x="882" y="2570"/>
                  </a:lnTo>
                  <a:lnTo>
                    <a:pt x="884" y="2570"/>
                  </a:lnTo>
                  <a:lnTo>
                    <a:pt x="885" y="2568"/>
                  </a:lnTo>
                  <a:lnTo>
                    <a:pt x="891" y="2565"/>
                  </a:lnTo>
                  <a:lnTo>
                    <a:pt x="897" y="2564"/>
                  </a:lnTo>
                  <a:lnTo>
                    <a:pt x="903" y="2565"/>
                  </a:lnTo>
                  <a:lnTo>
                    <a:pt x="907" y="2567"/>
                  </a:lnTo>
                  <a:lnTo>
                    <a:pt x="910" y="2568"/>
                  </a:lnTo>
                  <a:lnTo>
                    <a:pt x="913" y="2571"/>
                  </a:lnTo>
                  <a:lnTo>
                    <a:pt x="916" y="2575"/>
                  </a:lnTo>
                  <a:lnTo>
                    <a:pt x="917" y="2580"/>
                  </a:lnTo>
                  <a:lnTo>
                    <a:pt x="919" y="2587"/>
                  </a:lnTo>
                  <a:lnTo>
                    <a:pt x="922" y="2594"/>
                  </a:lnTo>
                  <a:lnTo>
                    <a:pt x="925" y="2602"/>
                  </a:lnTo>
                  <a:lnTo>
                    <a:pt x="929" y="2608"/>
                  </a:lnTo>
                  <a:lnTo>
                    <a:pt x="933" y="2615"/>
                  </a:lnTo>
                  <a:lnTo>
                    <a:pt x="939" y="2619"/>
                  </a:lnTo>
                  <a:lnTo>
                    <a:pt x="945" y="2625"/>
                  </a:lnTo>
                  <a:lnTo>
                    <a:pt x="952" y="2629"/>
                  </a:lnTo>
                  <a:lnTo>
                    <a:pt x="964" y="2635"/>
                  </a:lnTo>
                  <a:lnTo>
                    <a:pt x="977" y="2638"/>
                  </a:lnTo>
                  <a:lnTo>
                    <a:pt x="989" y="2640"/>
                  </a:lnTo>
                  <a:lnTo>
                    <a:pt x="1002" y="2638"/>
                  </a:lnTo>
                  <a:lnTo>
                    <a:pt x="1014" y="2635"/>
                  </a:lnTo>
                  <a:lnTo>
                    <a:pt x="1024" y="2629"/>
                  </a:lnTo>
                  <a:lnTo>
                    <a:pt x="1033" y="2622"/>
                  </a:lnTo>
                  <a:lnTo>
                    <a:pt x="1040" y="2612"/>
                  </a:lnTo>
                  <a:lnTo>
                    <a:pt x="1045" y="2600"/>
                  </a:lnTo>
                  <a:lnTo>
                    <a:pt x="1046" y="2589"/>
                  </a:lnTo>
                  <a:lnTo>
                    <a:pt x="1045" y="2577"/>
                  </a:lnTo>
                  <a:lnTo>
                    <a:pt x="1042" y="2565"/>
                  </a:lnTo>
                  <a:lnTo>
                    <a:pt x="1036" y="2555"/>
                  </a:lnTo>
                  <a:lnTo>
                    <a:pt x="1028" y="2545"/>
                  </a:lnTo>
                  <a:lnTo>
                    <a:pt x="1018" y="2536"/>
                  </a:lnTo>
                  <a:lnTo>
                    <a:pt x="1008" y="2529"/>
                  </a:lnTo>
                  <a:lnTo>
                    <a:pt x="999" y="2524"/>
                  </a:lnTo>
                  <a:lnTo>
                    <a:pt x="992" y="2523"/>
                  </a:lnTo>
                  <a:lnTo>
                    <a:pt x="985" y="2521"/>
                  </a:lnTo>
                  <a:lnTo>
                    <a:pt x="976" y="2520"/>
                  </a:lnTo>
                  <a:lnTo>
                    <a:pt x="968" y="2520"/>
                  </a:lnTo>
                  <a:lnTo>
                    <a:pt x="961" y="2521"/>
                  </a:lnTo>
                  <a:lnTo>
                    <a:pt x="954" y="2523"/>
                  </a:lnTo>
                  <a:lnTo>
                    <a:pt x="947" y="2526"/>
                  </a:lnTo>
                  <a:lnTo>
                    <a:pt x="942" y="2527"/>
                  </a:lnTo>
                  <a:lnTo>
                    <a:pt x="938" y="2527"/>
                  </a:lnTo>
                  <a:lnTo>
                    <a:pt x="933" y="2527"/>
                  </a:lnTo>
                  <a:lnTo>
                    <a:pt x="929" y="2524"/>
                  </a:lnTo>
                  <a:lnTo>
                    <a:pt x="926" y="2521"/>
                  </a:lnTo>
                  <a:lnTo>
                    <a:pt x="923" y="2517"/>
                  </a:lnTo>
                  <a:lnTo>
                    <a:pt x="920" y="2511"/>
                  </a:lnTo>
                  <a:lnTo>
                    <a:pt x="919" y="2505"/>
                  </a:lnTo>
                  <a:lnTo>
                    <a:pt x="917" y="2505"/>
                  </a:lnTo>
                  <a:lnTo>
                    <a:pt x="1163" y="2081"/>
                  </a:lnTo>
                  <a:lnTo>
                    <a:pt x="1163" y="2077"/>
                  </a:lnTo>
                  <a:lnTo>
                    <a:pt x="1160" y="2071"/>
                  </a:lnTo>
                  <a:lnTo>
                    <a:pt x="1157" y="2066"/>
                  </a:lnTo>
                  <a:lnTo>
                    <a:pt x="1154" y="2064"/>
                  </a:lnTo>
                  <a:lnTo>
                    <a:pt x="1151" y="2061"/>
                  </a:lnTo>
                  <a:lnTo>
                    <a:pt x="1147" y="2061"/>
                  </a:lnTo>
                  <a:lnTo>
                    <a:pt x="1143" y="2059"/>
                  </a:lnTo>
                  <a:lnTo>
                    <a:pt x="1137" y="2061"/>
                  </a:lnTo>
                  <a:lnTo>
                    <a:pt x="1131" y="2062"/>
                  </a:lnTo>
                  <a:lnTo>
                    <a:pt x="1122" y="2064"/>
                  </a:lnTo>
                  <a:lnTo>
                    <a:pt x="1115" y="2064"/>
                  </a:lnTo>
                  <a:lnTo>
                    <a:pt x="1107" y="2062"/>
                  </a:lnTo>
                  <a:lnTo>
                    <a:pt x="1100" y="2061"/>
                  </a:lnTo>
                  <a:lnTo>
                    <a:pt x="1091" y="2059"/>
                  </a:lnTo>
                  <a:lnTo>
                    <a:pt x="1084" y="2055"/>
                  </a:lnTo>
                  <a:lnTo>
                    <a:pt x="1077" y="2050"/>
                  </a:lnTo>
                  <a:lnTo>
                    <a:pt x="1066" y="2043"/>
                  </a:lnTo>
                  <a:lnTo>
                    <a:pt x="1059" y="2033"/>
                  </a:lnTo>
                  <a:lnTo>
                    <a:pt x="1052" y="2021"/>
                  </a:lnTo>
                  <a:lnTo>
                    <a:pt x="1047" y="2011"/>
                  </a:lnTo>
                  <a:lnTo>
                    <a:pt x="1046" y="1999"/>
                  </a:lnTo>
                  <a:lnTo>
                    <a:pt x="1046" y="1986"/>
                  </a:lnTo>
                  <a:lnTo>
                    <a:pt x="1049" y="1976"/>
                  </a:lnTo>
                  <a:lnTo>
                    <a:pt x="1055" y="1964"/>
                  </a:lnTo>
                  <a:lnTo>
                    <a:pt x="1064" y="1955"/>
                  </a:lnTo>
                  <a:lnTo>
                    <a:pt x="1072" y="1948"/>
                  </a:lnTo>
                  <a:lnTo>
                    <a:pt x="1084" y="1945"/>
                  </a:lnTo>
                  <a:lnTo>
                    <a:pt x="1096" y="1942"/>
                  </a:lnTo>
                  <a:lnTo>
                    <a:pt x="1107" y="1942"/>
                  </a:lnTo>
                  <a:lnTo>
                    <a:pt x="1121" y="1945"/>
                  </a:lnTo>
                  <a:lnTo>
                    <a:pt x="1132" y="1949"/>
                  </a:lnTo>
                  <a:lnTo>
                    <a:pt x="1144" y="1957"/>
                  </a:lnTo>
                  <a:lnTo>
                    <a:pt x="1150" y="1961"/>
                  </a:lnTo>
                  <a:lnTo>
                    <a:pt x="1156" y="1969"/>
                  </a:lnTo>
                  <a:lnTo>
                    <a:pt x="1162" y="1974"/>
                  </a:lnTo>
                  <a:lnTo>
                    <a:pt x="1164" y="1980"/>
                  </a:lnTo>
                  <a:lnTo>
                    <a:pt x="1169" y="1988"/>
                  </a:lnTo>
                  <a:lnTo>
                    <a:pt x="1170" y="1995"/>
                  </a:lnTo>
                  <a:lnTo>
                    <a:pt x="1172" y="2002"/>
                  </a:lnTo>
                  <a:lnTo>
                    <a:pt x="1173" y="2009"/>
                  </a:lnTo>
                  <a:lnTo>
                    <a:pt x="1175" y="2015"/>
                  </a:lnTo>
                  <a:lnTo>
                    <a:pt x="1176" y="2020"/>
                  </a:lnTo>
                  <a:lnTo>
                    <a:pt x="1178" y="2023"/>
                  </a:lnTo>
                  <a:lnTo>
                    <a:pt x="1182" y="2026"/>
                  </a:lnTo>
                  <a:lnTo>
                    <a:pt x="1186" y="2027"/>
                  </a:lnTo>
                  <a:lnTo>
                    <a:pt x="1194" y="2028"/>
                  </a:lnTo>
                  <a:lnTo>
                    <a:pt x="1268" y="1900"/>
                  </a:lnTo>
                  <a:lnTo>
                    <a:pt x="1233" y="1879"/>
                  </a:lnTo>
                  <a:lnTo>
                    <a:pt x="1200" y="1856"/>
                  </a:lnTo>
                  <a:lnTo>
                    <a:pt x="1167" y="1830"/>
                  </a:lnTo>
                  <a:lnTo>
                    <a:pt x="1137" y="1802"/>
                  </a:lnTo>
                  <a:lnTo>
                    <a:pt x="1107" y="1773"/>
                  </a:lnTo>
                  <a:lnTo>
                    <a:pt x="1080" y="1740"/>
                  </a:lnTo>
                  <a:lnTo>
                    <a:pt x="1068" y="1723"/>
                  </a:lnTo>
                  <a:lnTo>
                    <a:pt x="1055" y="1705"/>
                  </a:lnTo>
                  <a:lnTo>
                    <a:pt x="1043" y="1688"/>
                  </a:lnTo>
                  <a:lnTo>
                    <a:pt x="1031" y="1669"/>
                  </a:lnTo>
                  <a:lnTo>
                    <a:pt x="1017" y="1641"/>
                  </a:lnTo>
                  <a:lnTo>
                    <a:pt x="1004" y="1612"/>
                  </a:lnTo>
                  <a:lnTo>
                    <a:pt x="992" y="1584"/>
                  </a:lnTo>
                  <a:lnTo>
                    <a:pt x="980" y="1555"/>
                  </a:lnTo>
                  <a:lnTo>
                    <a:pt x="971" y="1525"/>
                  </a:lnTo>
                  <a:lnTo>
                    <a:pt x="964" y="1496"/>
                  </a:lnTo>
                  <a:lnTo>
                    <a:pt x="958" y="1465"/>
                  </a:lnTo>
                  <a:lnTo>
                    <a:pt x="954" y="1436"/>
                  </a:lnTo>
                  <a:lnTo>
                    <a:pt x="951" y="1407"/>
                  </a:lnTo>
                  <a:lnTo>
                    <a:pt x="949" y="1376"/>
                  </a:lnTo>
                  <a:lnTo>
                    <a:pt x="949" y="1347"/>
                  </a:lnTo>
                  <a:lnTo>
                    <a:pt x="951" y="1316"/>
                  </a:lnTo>
                  <a:lnTo>
                    <a:pt x="954" y="1287"/>
                  </a:lnTo>
                  <a:lnTo>
                    <a:pt x="958" y="1258"/>
                  </a:lnTo>
                  <a:lnTo>
                    <a:pt x="963" y="1229"/>
                  </a:lnTo>
                  <a:lnTo>
                    <a:pt x="970" y="1199"/>
                  </a:lnTo>
                  <a:lnTo>
                    <a:pt x="979" y="1172"/>
                  </a:lnTo>
                  <a:lnTo>
                    <a:pt x="988" y="1142"/>
                  </a:lnTo>
                  <a:lnTo>
                    <a:pt x="999" y="1116"/>
                  </a:lnTo>
                  <a:lnTo>
                    <a:pt x="1011" y="1088"/>
                  </a:lnTo>
                  <a:lnTo>
                    <a:pt x="1026" y="1062"/>
                  </a:lnTo>
                  <a:lnTo>
                    <a:pt x="1040" y="1036"/>
                  </a:lnTo>
                  <a:lnTo>
                    <a:pt x="1056" y="1011"/>
                  </a:lnTo>
                  <a:lnTo>
                    <a:pt x="1074" y="986"/>
                  </a:lnTo>
                  <a:lnTo>
                    <a:pt x="1093" y="962"/>
                  </a:lnTo>
                  <a:lnTo>
                    <a:pt x="1112" y="939"/>
                  </a:lnTo>
                  <a:lnTo>
                    <a:pt x="1134" y="917"/>
                  </a:lnTo>
                  <a:lnTo>
                    <a:pt x="1156" y="897"/>
                  </a:lnTo>
                  <a:lnTo>
                    <a:pt x="1179" y="876"/>
                  </a:lnTo>
                  <a:lnTo>
                    <a:pt x="1204" y="857"/>
                  </a:lnTo>
                  <a:lnTo>
                    <a:pt x="1229" y="840"/>
                  </a:lnTo>
                  <a:lnTo>
                    <a:pt x="1257" y="824"/>
                  </a:lnTo>
                  <a:lnTo>
                    <a:pt x="1182" y="695"/>
                  </a:lnTo>
                </a:path>
              </a:pathLst>
            </a:custGeom>
            <a:blipFill dpi="0" rotWithShape="1"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28575" cmpd="sng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64157" tIns="32078" rIns="64157" bIns="32078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400"/>
            </a:p>
          </p:txBody>
        </p:sp>
      </p:grp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1408008" y="4194852"/>
            <a:ext cx="2109538" cy="28396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indent="0" fontAlgn="base">
              <a:spcBef>
                <a:spcPct val="20000"/>
              </a:spcBef>
              <a:spcAft>
                <a:spcPct val="0"/>
              </a:spcAft>
              <a:buClr>
                <a:srgbClr val="0046AD"/>
              </a:buClr>
              <a:buSzPct val="85000"/>
              <a:buNone/>
            </a:pPr>
            <a:r>
              <a:rPr lang="de-DE" sz="1600" b="1" i="1" dirty="0">
                <a:latin typeface="+mj-lt"/>
              </a:rPr>
              <a:t>Infrastructure</a:t>
            </a:r>
          </a:p>
        </p:txBody>
      </p:sp>
      <p:sp>
        <p:nvSpPr>
          <p:cNvPr id="17" name="Content Placeholder 2"/>
          <p:cNvSpPr txBox="1">
            <a:spLocks/>
          </p:cNvSpPr>
          <p:nvPr/>
        </p:nvSpPr>
        <p:spPr bwMode="auto">
          <a:xfrm>
            <a:off x="1408008" y="2446134"/>
            <a:ext cx="2074985" cy="547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46AD"/>
              </a:buClr>
              <a:buSzPct val="85000"/>
              <a:buFont typeface="Wingdings" pitchFamily="2" charset="2"/>
              <a:buChar char="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46AD"/>
              </a:buClr>
              <a:buSzPct val="85000"/>
              <a:buFont typeface="Wingdings" pitchFamily="2" charset="2"/>
              <a:buChar char="n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sz="1600" b="1" i="1" dirty="0">
                <a:latin typeface="+mj-lt"/>
              </a:rPr>
              <a:t>Intermodal regulatory level playing field</a:t>
            </a:r>
          </a:p>
        </p:txBody>
      </p:sp>
      <p:sp>
        <p:nvSpPr>
          <p:cNvPr id="18" name="Content Placeholder 2"/>
          <p:cNvSpPr txBox="1">
            <a:spLocks/>
          </p:cNvSpPr>
          <p:nvPr/>
        </p:nvSpPr>
        <p:spPr bwMode="auto">
          <a:xfrm>
            <a:off x="5851451" y="3509923"/>
            <a:ext cx="2058938" cy="71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indent="0" eaLnBrk="1" hangingPunct="1">
              <a:spcBef>
                <a:spcPct val="20000"/>
              </a:spcBef>
              <a:buClr>
                <a:srgbClr val="0046AD"/>
              </a:buClr>
              <a:buSzPct val="85000"/>
              <a:buFont typeface="Wingdings" pitchFamily="2" charset="2"/>
              <a:buNone/>
              <a:defRPr sz="2000">
                <a:solidFill>
                  <a:srgbClr val="0060AA"/>
                </a:solidFill>
              </a:defRPr>
            </a:lvl1pPr>
            <a:lvl2pPr marL="742950" indent="-285750" eaLnBrk="1" hangingPunct="1">
              <a:spcBef>
                <a:spcPct val="20000"/>
              </a:spcBef>
              <a:buClr>
                <a:srgbClr val="0046AD"/>
              </a:buClr>
              <a:buSzPct val="85000"/>
              <a:buFont typeface="Wingdings" pitchFamily="2" charset="2"/>
              <a:buChar char="n"/>
              <a:defRPr>
                <a:latin typeface="+mn-lt"/>
              </a:defRPr>
            </a:lvl2pPr>
            <a:lvl3pPr marL="1143000" indent="-228600" eaLnBrk="1" hangingPunct="1">
              <a:spcBef>
                <a:spcPct val="20000"/>
              </a:spcBef>
              <a:buChar char="•"/>
              <a:defRPr>
                <a:latin typeface="+mn-lt"/>
              </a:defRPr>
            </a:lvl3pPr>
            <a:lvl4pPr marL="1600200" indent="-228600" eaLnBrk="1" hangingPunct="1">
              <a:spcBef>
                <a:spcPct val="20000"/>
              </a:spcBef>
              <a:buChar char="–"/>
              <a:defRPr>
                <a:latin typeface="+mn-lt"/>
              </a:defRPr>
            </a:lvl4pPr>
            <a:lvl5pPr marL="2057400" indent="-228600" eaLnBrk="1" hangingPunct="1">
              <a:spcBef>
                <a:spcPct val="20000"/>
              </a:spcBef>
              <a:buChar char="»"/>
              <a:defRPr>
                <a:latin typeface="+mn-lt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9pPr>
          </a:lstStyle>
          <a:p>
            <a:r>
              <a:rPr lang="de-DE" sz="1600" b="1" i="1" dirty="0">
                <a:solidFill>
                  <a:schemeClr val="tx1"/>
                </a:solidFill>
                <a:latin typeface="+mj-lt"/>
              </a:rPr>
              <a:t>Innovation</a:t>
            </a:r>
          </a:p>
        </p:txBody>
      </p:sp>
    </p:spTree>
    <p:extLst>
      <p:ext uri="{BB962C8B-B14F-4D97-AF65-F5344CB8AC3E}">
        <p14:creationId xmlns:p14="http://schemas.microsoft.com/office/powerpoint/2010/main" val="4250055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fr-FR" dirty="0" smtClean="0"/>
              <a:t>Thank You</a:t>
            </a:r>
            <a:endParaRPr lang="fr-FR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fr-FR" dirty="0" err="1" smtClean="0"/>
              <a:t>Libor</a:t>
            </a:r>
            <a:r>
              <a:rPr lang="fr-FR" dirty="0" smtClean="0"/>
              <a:t> </a:t>
            </a:r>
            <a:r>
              <a:rPr lang="fr-FR" dirty="0" err="1" smtClean="0"/>
              <a:t>Lochman</a:t>
            </a:r>
            <a:endParaRPr lang="fr-FR" dirty="0" smtClean="0"/>
          </a:p>
          <a:p>
            <a:r>
              <a:rPr lang="fr-FR" dirty="0" smtClean="0"/>
              <a:t>CER </a:t>
            </a:r>
            <a:r>
              <a:rPr lang="fr-FR" dirty="0" err="1" smtClean="0"/>
              <a:t>Executive</a:t>
            </a:r>
            <a:r>
              <a:rPr lang="fr-FR" dirty="0" smtClean="0"/>
              <a:t> </a:t>
            </a:r>
            <a:r>
              <a:rPr lang="fr-FR" dirty="0" err="1" smtClean="0"/>
              <a:t>Director</a:t>
            </a:r>
            <a:endParaRPr lang="fr-FR" u="sng" dirty="0" smtClean="0"/>
          </a:p>
          <a:p>
            <a:r>
              <a:rPr lang="fr-FR" u="sng" dirty="0" err="1"/>
              <a:t>l</a:t>
            </a:r>
            <a:r>
              <a:rPr lang="fr-FR" u="sng" dirty="0" err="1" smtClean="0"/>
              <a:t>ibor.lochman@cer.be</a:t>
            </a:r>
            <a:endParaRPr lang="fr-FR" u="sng" dirty="0"/>
          </a:p>
        </p:txBody>
      </p:sp>
    </p:spTree>
    <p:extLst>
      <p:ext uri="{BB962C8B-B14F-4D97-AF65-F5344CB8AC3E}">
        <p14:creationId xmlns:p14="http://schemas.microsoft.com/office/powerpoint/2010/main" val="2044876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idx="20"/>
          </p:nvPr>
        </p:nvSpPr>
        <p:spPr>
          <a:xfrm>
            <a:off x="472066" y="344373"/>
            <a:ext cx="8049634" cy="1125140"/>
          </a:xfrm>
        </p:spPr>
        <p:txBody>
          <a:bodyPr/>
          <a:lstStyle/>
          <a:p>
            <a:pPr lvl="0"/>
            <a:r>
              <a:rPr lang="en-GB" dirty="0"/>
              <a:t>CER – who we </a:t>
            </a:r>
            <a:r>
              <a:rPr lang="en-GB" dirty="0" smtClean="0"/>
              <a:t>are:</a:t>
            </a:r>
            <a:endParaRPr lang="en-GB" dirty="0"/>
          </a:p>
          <a:p>
            <a:r>
              <a:rPr lang="en-GB" dirty="0"/>
              <a:t>The major rail lobby association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1332862" y="2907642"/>
            <a:ext cx="6731638" cy="2972457"/>
            <a:chOff x="248785" y="2896937"/>
            <a:chExt cx="8460431" cy="3550187"/>
          </a:xfrm>
        </p:grpSpPr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785" y="2896938"/>
              <a:ext cx="8460431" cy="35501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ctangle 4"/>
            <p:cNvSpPr/>
            <p:nvPr/>
          </p:nvSpPr>
          <p:spPr>
            <a:xfrm>
              <a:off x="248785" y="2896937"/>
              <a:ext cx="8460431" cy="257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369579" y="2078024"/>
            <a:ext cx="6955738" cy="989279"/>
            <a:chOff x="522257" y="1447577"/>
            <a:chExt cx="8742083" cy="1181556"/>
          </a:xfrm>
        </p:grpSpPr>
        <p:pic>
          <p:nvPicPr>
            <p:cNvPr id="7" name="Image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38409" y="1447577"/>
              <a:ext cx="970744" cy="1089325"/>
            </a:xfrm>
            <a:prstGeom prst="rect">
              <a:avLst/>
            </a:prstGeom>
          </p:spPr>
        </p:pic>
        <p:pic>
          <p:nvPicPr>
            <p:cNvPr id="8" name="Image 1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668613" y="1631886"/>
              <a:ext cx="1068535" cy="791218"/>
            </a:xfrm>
            <a:prstGeom prst="rect">
              <a:avLst/>
            </a:prstGeom>
          </p:spPr>
        </p:pic>
        <p:pic>
          <p:nvPicPr>
            <p:cNvPr id="9" name="Image 1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22257" y="1580417"/>
              <a:ext cx="1235095" cy="914549"/>
            </a:xfrm>
            <a:prstGeom prst="rect">
              <a:avLst/>
            </a:prstGeom>
          </p:spPr>
        </p:pic>
        <p:sp>
          <p:nvSpPr>
            <p:cNvPr id="10" name="Espace réservé du texte 1"/>
            <p:cNvSpPr txBox="1">
              <a:spLocks/>
            </p:cNvSpPr>
            <p:nvPr/>
          </p:nvSpPr>
          <p:spPr>
            <a:xfrm>
              <a:off x="1757352" y="1619925"/>
              <a:ext cx="1865187" cy="997248"/>
            </a:xfrm>
            <a:prstGeom prst="rect">
              <a:avLst/>
            </a:prstGeom>
          </p:spPr>
          <p:txBody>
            <a:bodyPr anchor="t"/>
            <a:lstStyle/>
            <a:p>
              <a:pPr>
                <a:spcBef>
                  <a:spcPct val="20000"/>
                </a:spcBef>
                <a:defRPr/>
              </a:pPr>
              <a:r>
                <a:rPr lang="fr-FR" sz="2700" b="1" dirty="0">
                  <a:solidFill>
                    <a:srgbClr val="A2000C"/>
                  </a:solidFill>
                </a:rPr>
                <a:t>73%</a:t>
              </a:r>
            </a:p>
          </p:txBody>
        </p:sp>
        <p:sp>
          <p:nvSpPr>
            <p:cNvPr id="11" name="Espace réservé du texte 1"/>
            <p:cNvSpPr txBox="1">
              <a:spLocks/>
            </p:cNvSpPr>
            <p:nvPr/>
          </p:nvSpPr>
          <p:spPr>
            <a:xfrm>
              <a:off x="4783222" y="1631885"/>
              <a:ext cx="1865187" cy="997248"/>
            </a:xfrm>
            <a:prstGeom prst="rect">
              <a:avLst/>
            </a:prstGeom>
          </p:spPr>
          <p:txBody>
            <a:bodyPr anchor="t"/>
            <a:lstStyle/>
            <a:p>
              <a:pPr>
                <a:spcBef>
                  <a:spcPct val="20000"/>
                </a:spcBef>
                <a:defRPr/>
              </a:pPr>
              <a:r>
                <a:rPr lang="fr-FR" sz="2700" b="1" dirty="0">
                  <a:solidFill>
                    <a:srgbClr val="A2000C"/>
                  </a:solidFill>
                </a:rPr>
                <a:t>80%</a:t>
              </a:r>
            </a:p>
          </p:txBody>
        </p:sp>
        <p:sp>
          <p:nvSpPr>
            <p:cNvPr id="12" name="Espace réservé du texte 1"/>
            <p:cNvSpPr txBox="1">
              <a:spLocks/>
            </p:cNvSpPr>
            <p:nvPr/>
          </p:nvSpPr>
          <p:spPr>
            <a:xfrm>
              <a:off x="7399153" y="1631885"/>
              <a:ext cx="1865187" cy="997248"/>
            </a:xfrm>
            <a:prstGeom prst="rect">
              <a:avLst/>
            </a:prstGeom>
          </p:spPr>
          <p:txBody>
            <a:bodyPr anchor="t"/>
            <a:lstStyle/>
            <a:p>
              <a:pPr>
                <a:spcBef>
                  <a:spcPct val="20000"/>
                </a:spcBef>
                <a:defRPr/>
              </a:pPr>
              <a:r>
                <a:rPr lang="fr-FR" sz="2700" b="1" dirty="0">
                  <a:solidFill>
                    <a:srgbClr val="A2000C"/>
                  </a:solidFill>
                </a:rPr>
                <a:t>96%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1200" y="3095740"/>
            <a:ext cx="2889358" cy="1569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868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GB" dirty="0" smtClean="0"/>
              <a:t>The EU now legislates all aspects of the rail system</a:t>
            </a:r>
            <a:endParaRPr lang="en-GB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064" y="1711913"/>
            <a:ext cx="7749955" cy="4338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2063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3"/>
          </p:nvPr>
        </p:nvSpPr>
        <p:spPr>
          <a:xfrm>
            <a:off x="248784" y="211726"/>
            <a:ext cx="7165793" cy="1500187"/>
          </a:xfrm>
        </p:spPr>
        <p:txBody>
          <a:bodyPr/>
          <a:lstStyle/>
          <a:p>
            <a:r>
              <a:rPr lang="en-GB" sz="3200" dirty="0" smtClean="0"/>
              <a:t>EU rail legislation (1)</a:t>
            </a:r>
            <a:endParaRPr lang="en-GB" sz="3200" dirty="0"/>
          </a:p>
        </p:txBody>
      </p:sp>
      <p:grpSp>
        <p:nvGrpSpPr>
          <p:cNvPr id="5" name="Group 4"/>
          <p:cNvGrpSpPr/>
          <p:nvPr/>
        </p:nvGrpSpPr>
        <p:grpSpPr>
          <a:xfrm>
            <a:off x="1907704" y="2252114"/>
            <a:ext cx="5112568" cy="3915642"/>
            <a:chOff x="200025" y="1773239"/>
            <a:chExt cx="5545138" cy="3596641"/>
          </a:xfrm>
        </p:grpSpPr>
        <p:sp>
          <p:nvSpPr>
            <p:cNvPr id="6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00025" y="1773239"/>
              <a:ext cx="1387475" cy="1126322"/>
            </a:xfrm>
            <a:prstGeom prst="rect">
              <a:avLst/>
            </a:prstGeom>
            <a:solidFill>
              <a:srgbClr val="0046AD"/>
            </a:solidFill>
            <a:ln w="9525">
              <a:solidFill>
                <a:srgbClr val="878C96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7" name="Rectangl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00025" y="2899561"/>
              <a:ext cx="1387475" cy="1124747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878C9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" name="Rectangl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00025" y="4024307"/>
              <a:ext cx="1387475" cy="112317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878C9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Rectangle 3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973388" y="4024307"/>
              <a:ext cx="1387475" cy="112317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878C96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Rectangle 3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587500" y="4024307"/>
              <a:ext cx="1385888" cy="1123172"/>
            </a:xfrm>
            <a:prstGeom prst="rect">
              <a:avLst/>
            </a:prstGeom>
            <a:solidFill>
              <a:srgbClr val="0046AD"/>
            </a:solidFill>
            <a:ln w="9525">
              <a:solidFill>
                <a:srgbClr val="878C96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Rectangle 3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587500" y="2899561"/>
              <a:ext cx="1385888" cy="11247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878C96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Rectangle 3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973388" y="2899561"/>
              <a:ext cx="1387475" cy="11247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878C96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Rectangle 36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360863" y="2899561"/>
              <a:ext cx="1384300" cy="11247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878C96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37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587500" y="1773239"/>
              <a:ext cx="1385888" cy="112632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878C96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Rectangle 38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973388" y="1773239"/>
              <a:ext cx="1387475" cy="1126322"/>
            </a:xfrm>
            <a:prstGeom prst="rect">
              <a:avLst/>
            </a:prstGeom>
            <a:solidFill>
              <a:srgbClr val="0046AD"/>
            </a:solidFill>
            <a:ln w="9525">
              <a:solidFill>
                <a:srgbClr val="878C96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Rectangle 3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4360863" y="1773239"/>
              <a:ext cx="1384300" cy="1126322"/>
            </a:xfrm>
            <a:prstGeom prst="rect">
              <a:avLst/>
            </a:prstGeom>
            <a:solidFill>
              <a:srgbClr val="0046AD"/>
            </a:solidFill>
            <a:ln w="9525">
              <a:solidFill>
                <a:srgbClr val="878C96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41"/>
            <p:cNvSpPr>
              <a:spLocks noChangeArrowheads="1"/>
            </p:cNvSpPr>
            <p:nvPr/>
          </p:nvSpPr>
          <p:spPr bwMode="gray">
            <a:xfrm rot="16200000">
              <a:off x="721924" y="2714667"/>
              <a:ext cx="352811" cy="366713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878C9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8" name="Group 43"/>
            <p:cNvGrpSpPr>
              <a:grpSpLocks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695325" y="3844726"/>
              <a:ext cx="419100" cy="398545"/>
              <a:chOff x="1407" y="2275"/>
              <a:chExt cx="256" cy="244"/>
            </a:xfrm>
          </p:grpSpPr>
          <p:sp>
            <p:nvSpPr>
              <p:cNvPr id="73" name="Oval 44"/>
              <p:cNvSpPr>
                <a:spLocks noChangeArrowheads="1"/>
              </p:cNvSpPr>
              <p:nvPr/>
            </p:nvSpPr>
            <p:spPr bwMode="gray">
              <a:xfrm rot="-5400000">
                <a:off x="1423" y="2299"/>
                <a:ext cx="216" cy="224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Oval 45"/>
              <p:cNvSpPr>
                <a:spLocks noChangeArrowheads="1"/>
              </p:cNvSpPr>
              <p:nvPr/>
            </p:nvSpPr>
            <p:spPr bwMode="gray">
              <a:xfrm rot="-5400000">
                <a:off x="1465" y="2217"/>
                <a:ext cx="140" cy="25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9" name="Group 46"/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695325" y="4971049"/>
              <a:ext cx="419100" cy="398544"/>
              <a:chOff x="1407" y="2963"/>
              <a:chExt cx="256" cy="244"/>
            </a:xfrm>
          </p:grpSpPr>
          <p:sp>
            <p:nvSpPr>
              <p:cNvPr id="71" name="Oval 47"/>
              <p:cNvSpPr>
                <a:spLocks noChangeArrowheads="1"/>
              </p:cNvSpPr>
              <p:nvPr/>
            </p:nvSpPr>
            <p:spPr bwMode="gray">
              <a:xfrm rot="-5400000">
                <a:off x="1423" y="2987"/>
                <a:ext cx="216" cy="224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Oval 48"/>
              <p:cNvSpPr>
                <a:spLocks noChangeArrowheads="1"/>
              </p:cNvSpPr>
              <p:nvPr/>
            </p:nvSpPr>
            <p:spPr bwMode="gray">
              <a:xfrm rot="-5400000">
                <a:off x="1465" y="2905"/>
                <a:ext cx="140" cy="25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0" name="Oval 50"/>
            <p:cNvSpPr>
              <a:spLocks noChangeArrowheads="1"/>
            </p:cNvSpPr>
            <p:nvPr/>
          </p:nvSpPr>
          <p:spPr bwMode="gray">
            <a:xfrm rot="10800000">
              <a:off x="2842904" y="4444560"/>
              <a:ext cx="352738" cy="366645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21" name="Group 52"/>
            <p:cNvGrpSpPr>
              <a:grpSpLocks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3467100" y="3805345"/>
              <a:ext cx="419100" cy="398544"/>
              <a:chOff x="3102" y="2250"/>
              <a:chExt cx="256" cy="244"/>
            </a:xfrm>
            <a:solidFill>
              <a:schemeClr val="bg1"/>
            </a:solidFill>
          </p:grpSpPr>
          <p:sp>
            <p:nvSpPr>
              <p:cNvPr id="69" name="Oval 53"/>
              <p:cNvSpPr>
                <a:spLocks noChangeArrowheads="1"/>
              </p:cNvSpPr>
              <p:nvPr/>
            </p:nvSpPr>
            <p:spPr bwMode="gray">
              <a:xfrm rot="5400000" flipV="1">
                <a:off x="3118" y="2246"/>
                <a:ext cx="216" cy="224"/>
              </a:xfrm>
              <a:prstGeom prst="ellipse">
                <a:avLst/>
              </a:prstGeom>
              <a:grpFill/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" name="Oval 54"/>
              <p:cNvSpPr>
                <a:spLocks noChangeArrowheads="1"/>
              </p:cNvSpPr>
              <p:nvPr/>
            </p:nvSpPr>
            <p:spPr bwMode="gray">
              <a:xfrm rot="5400000" flipV="1">
                <a:off x="3160" y="2296"/>
                <a:ext cx="140" cy="256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2" name="Group 55"/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3460564" y="5008903"/>
              <a:ext cx="419101" cy="360977"/>
              <a:chOff x="3098" y="2986"/>
              <a:chExt cx="256" cy="221"/>
            </a:xfrm>
            <a:solidFill>
              <a:schemeClr val="bg1"/>
            </a:solidFill>
          </p:grpSpPr>
          <p:sp>
            <p:nvSpPr>
              <p:cNvPr id="67" name="Oval 56"/>
              <p:cNvSpPr>
                <a:spLocks noChangeArrowheads="1"/>
              </p:cNvSpPr>
              <p:nvPr/>
            </p:nvSpPr>
            <p:spPr bwMode="gray">
              <a:xfrm rot="16200000">
                <a:off x="3118" y="2982"/>
                <a:ext cx="216" cy="224"/>
              </a:xfrm>
              <a:prstGeom prst="ellipse">
                <a:avLst/>
              </a:prstGeom>
              <a:grpFill/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Oval 57"/>
              <p:cNvSpPr>
                <a:spLocks noChangeArrowheads="1"/>
              </p:cNvSpPr>
              <p:nvPr/>
            </p:nvSpPr>
            <p:spPr bwMode="gray">
              <a:xfrm rot="16200000">
                <a:off x="3141" y="2994"/>
                <a:ext cx="170" cy="256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3" name="Oval 59"/>
            <p:cNvSpPr>
              <a:spLocks noChangeArrowheads="1"/>
            </p:cNvSpPr>
            <p:nvPr/>
          </p:nvSpPr>
          <p:spPr bwMode="gray">
            <a:xfrm rot="5400000" flipV="1">
              <a:off x="4866893" y="2678369"/>
              <a:ext cx="352810" cy="366713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b="0" kern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24" name="Group 61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1366838" y="2156030"/>
              <a:ext cx="398462" cy="417449"/>
              <a:chOff x="1818" y="1242"/>
              <a:chExt cx="244" cy="256"/>
            </a:xfrm>
            <a:solidFill>
              <a:schemeClr val="bg1"/>
            </a:solidFill>
          </p:grpSpPr>
          <p:sp>
            <p:nvSpPr>
              <p:cNvPr id="65" name="Oval 62"/>
              <p:cNvSpPr>
                <a:spLocks noChangeArrowheads="1"/>
              </p:cNvSpPr>
              <p:nvPr/>
            </p:nvSpPr>
            <p:spPr bwMode="gray">
              <a:xfrm>
                <a:off x="1818" y="1254"/>
                <a:ext cx="216" cy="224"/>
              </a:xfrm>
              <a:prstGeom prst="ellipse">
                <a:avLst/>
              </a:prstGeom>
              <a:grpFill/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" name="Oval 63"/>
              <p:cNvSpPr>
                <a:spLocks noChangeArrowheads="1"/>
              </p:cNvSpPr>
              <p:nvPr/>
            </p:nvSpPr>
            <p:spPr bwMode="gray">
              <a:xfrm>
                <a:off x="1922" y="1242"/>
                <a:ext cx="140" cy="256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5" name="Group 64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2795588" y="2156030"/>
              <a:ext cx="398462" cy="417449"/>
              <a:chOff x="2692" y="1242"/>
              <a:chExt cx="244" cy="256"/>
            </a:xfrm>
            <a:solidFill>
              <a:schemeClr val="bg1"/>
            </a:solidFill>
          </p:grpSpPr>
          <p:sp>
            <p:nvSpPr>
              <p:cNvPr id="63" name="Oval 65"/>
              <p:cNvSpPr>
                <a:spLocks noChangeArrowheads="1"/>
              </p:cNvSpPr>
              <p:nvPr/>
            </p:nvSpPr>
            <p:spPr bwMode="gray">
              <a:xfrm rot="-10800000">
                <a:off x="2720" y="1262"/>
                <a:ext cx="216" cy="224"/>
              </a:xfrm>
              <a:prstGeom prst="ellipse">
                <a:avLst/>
              </a:prstGeom>
              <a:grpFill/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Oval 66"/>
              <p:cNvSpPr>
                <a:spLocks noChangeArrowheads="1"/>
              </p:cNvSpPr>
              <p:nvPr/>
            </p:nvSpPr>
            <p:spPr bwMode="gray">
              <a:xfrm rot="-10800000">
                <a:off x="2692" y="1242"/>
                <a:ext cx="140" cy="256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6" name="Group 70"/>
            <p:cNvGrpSpPr>
              <a:grpSpLocks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2074863" y="3843151"/>
              <a:ext cx="417512" cy="398544"/>
              <a:chOff x="2250" y="2274"/>
              <a:chExt cx="256" cy="244"/>
            </a:xfrm>
            <a:solidFill>
              <a:schemeClr val="bg1"/>
            </a:solidFill>
          </p:grpSpPr>
          <p:sp>
            <p:nvSpPr>
              <p:cNvPr id="61" name="Oval 71"/>
              <p:cNvSpPr>
                <a:spLocks noChangeArrowheads="1"/>
              </p:cNvSpPr>
              <p:nvPr/>
            </p:nvSpPr>
            <p:spPr bwMode="gray">
              <a:xfrm rot="-5400000">
                <a:off x="2266" y="2298"/>
                <a:ext cx="216" cy="224"/>
              </a:xfrm>
              <a:prstGeom prst="ellipse">
                <a:avLst/>
              </a:prstGeom>
              <a:grpFill/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Oval 72"/>
              <p:cNvSpPr>
                <a:spLocks noChangeArrowheads="1"/>
              </p:cNvSpPr>
              <p:nvPr/>
            </p:nvSpPr>
            <p:spPr bwMode="gray">
              <a:xfrm rot="-5400000">
                <a:off x="2308" y="2216"/>
                <a:ext cx="140" cy="256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7" name="Oval 80"/>
            <p:cNvSpPr>
              <a:spLocks noChangeArrowheads="1"/>
            </p:cNvSpPr>
            <p:nvPr/>
          </p:nvSpPr>
          <p:spPr bwMode="gray">
            <a:xfrm rot="16200000">
              <a:off x="3493006" y="2764369"/>
              <a:ext cx="354205" cy="366713"/>
            </a:xfrm>
            <a:prstGeom prst="ellipse">
              <a:avLst/>
            </a:prstGeom>
            <a:solidFill>
              <a:srgbClr val="0046AD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28" name="Group 82"/>
            <p:cNvGrpSpPr>
              <a:grpSpLocks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4840288" y="3843151"/>
              <a:ext cx="419100" cy="398544"/>
              <a:chOff x="3942" y="2274"/>
              <a:chExt cx="256" cy="244"/>
            </a:xfrm>
            <a:solidFill>
              <a:schemeClr val="bg1"/>
            </a:solidFill>
          </p:grpSpPr>
          <p:sp>
            <p:nvSpPr>
              <p:cNvPr id="59" name="Oval 83"/>
              <p:cNvSpPr>
                <a:spLocks noChangeArrowheads="1"/>
              </p:cNvSpPr>
              <p:nvPr/>
            </p:nvSpPr>
            <p:spPr bwMode="gray">
              <a:xfrm rot="-5400000">
                <a:off x="3958" y="2298"/>
                <a:ext cx="216" cy="224"/>
              </a:xfrm>
              <a:prstGeom prst="ellipse">
                <a:avLst/>
              </a:prstGeom>
              <a:grpFill/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0" name="Oval 84"/>
              <p:cNvSpPr>
                <a:spLocks noChangeArrowheads="1"/>
              </p:cNvSpPr>
              <p:nvPr/>
            </p:nvSpPr>
            <p:spPr bwMode="gray">
              <a:xfrm rot="-5400000">
                <a:off x="4000" y="2216"/>
                <a:ext cx="140" cy="256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9" name="Group 85"/>
            <p:cNvGrpSpPr>
              <a:grpSpLocks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2074863" y="2685323"/>
              <a:ext cx="417512" cy="398545"/>
              <a:chOff x="2250" y="1566"/>
              <a:chExt cx="256" cy="244"/>
            </a:xfrm>
            <a:solidFill>
              <a:schemeClr val="bg1"/>
            </a:solidFill>
          </p:grpSpPr>
          <p:sp>
            <p:nvSpPr>
              <p:cNvPr id="57" name="Oval 86"/>
              <p:cNvSpPr>
                <a:spLocks noChangeArrowheads="1"/>
              </p:cNvSpPr>
              <p:nvPr/>
            </p:nvSpPr>
            <p:spPr bwMode="gray">
              <a:xfrm rot="5400000" flipV="1">
                <a:off x="2266" y="1562"/>
                <a:ext cx="216" cy="224"/>
              </a:xfrm>
              <a:prstGeom prst="ellipse">
                <a:avLst/>
              </a:prstGeom>
              <a:grpFill/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Oval 87"/>
              <p:cNvSpPr>
                <a:spLocks noChangeArrowheads="1"/>
              </p:cNvSpPr>
              <p:nvPr/>
            </p:nvSpPr>
            <p:spPr bwMode="gray">
              <a:xfrm rot="5400000" flipV="1">
                <a:off x="2308" y="1612"/>
                <a:ext cx="140" cy="256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0" name="Group 91"/>
            <p:cNvGrpSpPr>
              <a:grpSpLocks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2074863" y="4933242"/>
              <a:ext cx="417512" cy="398544"/>
              <a:chOff x="2250" y="2940"/>
              <a:chExt cx="256" cy="244"/>
            </a:xfrm>
          </p:grpSpPr>
          <p:sp>
            <p:nvSpPr>
              <p:cNvPr id="55" name="Oval 92"/>
              <p:cNvSpPr>
                <a:spLocks noChangeArrowheads="1"/>
              </p:cNvSpPr>
              <p:nvPr/>
            </p:nvSpPr>
            <p:spPr bwMode="gray">
              <a:xfrm rot="5400000" flipV="1">
                <a:off x="2266" y="2936"/>
                <a:ext cx="216" cy="224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Oval 93"/>
              <p:cNvSpPr>
                <a:spLocks noChangeArrowheads="1"/>
              </p:cNvSpPr>
              <p:nvPr/>
            </p:nvSpPr>
            <p:spPr bwMode="gray">
              <a:xfrm rot="5400000" flipV="1">
                <a:off x="2308" y="2986"/>
                <a:ext cx="140" cy="25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1" name="Group 94"/>
            <p:cNvGrpSpPr>
              <a:grpSpLocks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2760663" y="3265025"/>
              <a:ext cx="398462" cy="419023"/>
              <a:chOff x="2670" y="1920"/>
              <a:chExt cx="244" cy="256"/>
            </a:xfrm>
            <a:solidFill>
              <a:schemeClr val="bg1"/>
            </a:solidFill>
          </p:grpSpPr>
          <p:sp>
            <p:nvSpPr>
              <p:cNvPr id="53" name="Oval 95"/>
              <p:cNvSpPr>
                <a:spLocks noChangeArrowheads="1"/>
              </p:cNvSpPr>
              <p:nvPr/>
            </p:nvSpPr>
            <p:spPr bwMode="gray">
              <a:xfrm>
                <a:off x="2670" y="1932"/>
                <a:ext cx="216" cy="224"/>
              </a:xfrm>
              <a:prstGeom prst="ellipse">
                <a:avLst/>
              </a:prstGeom>
              <a:grpFill/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Oval 96"/>
              <p:cNvSpPr>
                <a:spLocks noChangeArrowheads="1"/>
              </p:cNvSpPr>
              <p:nvPr/>
            </p:nvSpPr>
            <p:spPr bwMode="gray">
              <a:xfrm>
                <a:off x="2774" y="1920"/>
                <a:ext cx="140" cy="256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2" name="Group 97"/>
            <p:cNvGrpSpPr>
              <a:grpSpLocks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4183063" y="3265025"/>
              <a:ext cx="398462" cy="419023"/>
              <a:chOff x="3540" y="1920"/>
              <a:chExt cx="244" cy="256"/>
            </a:xfrm>
            <a:solidFill>
              <a:schemeClr val="bg1"/>
            </a:solidFill>
          </p:grpSpPr>
          <p:sp>
            <p:nvSpPr>
              <p:cNvPr id="51" name="Oval 98"/>
              <p:cNvSpPr>
                <a:spLocks noChangeArrowheads="1"/>
              </p:cNvSpPr>
              <p:nvPr/>
            </p:nvSpPr>
            <p:spPr bwMode="gray">
              <a:xfrm rot="-10800000">
                <a:off x="3568" y="1940"/>
                <a:ext cx="216" cy="224"/>
              </a:xfrm>
              <a:prstGeom prst="ellipse">
                <a:avLst/>
              </a:prstGeom>
              <a:grpFill/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Oval 99"/>
              <p:cNvSpPr>
                <a:spLocks noChangeArrowheads="1"/>
              </p:cNvSpPr>
              <p:nvPr/>
            </p:nvSpPr>
            <p:spPr bwMode="gray">
              <a:xfrm rot="-10800000">
                <a:off x="3540" y="1920"/>
                <a:ext cx="140" cy="256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3" name="Group 100"/>
            <p:cNvGrpSpPr>
              <a:grpSpLocks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4143375" y="4411825"/>
              <a:ext cx="398463" cy="419023"/>
              <a:chOff x="3516" y="2621"/>
              <a:chExt cx="244" cy="256"/>
            </a:xfrm>
          </p:grpSpPr>
          <p:sp>
            <p:nvSpPr>
              <p:cNvPr id="49" name="Oval 101"/>
              <p:cNvSpPr>
                <a:spLocks noChangeArrowheads="1"/>
              </p:cNvSpPr>
              <p:nvPr/>
            </p:nvSpPr>
            <p:spPr bwMode="gray">
              <a:xfrm>
                <a:off x="3516" y="2633"/>
                <a:ext cx="216" cy="224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Oval 102"/>
              <p:cNvSpPr>
                <a:spLocks noChangeArrowheads="1"/>
              </p:cNvSpPr>
              <p:nvPr/>
            </p:nvSpPr>
            <p:spPr bwMode="gray">
              <a:xfrm>
                <a:off x="3620" y="2621"/>
                <a:ext cx="140" cy="25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4" name="Oval 104"/>
            <p:cNvSpPr>
              <a:spLocks noChangeArrowheads="1"/>
            </p:cNvSpPr>
            <p:nvPr/>
          </p:nvSpPr>
          <p:spPr bwMode="gray">
            <a:xfrm>
              <a:off x="1366839" y="4431465"/>
              <a:ext cx="352737" cy="366645"/>
            </a:xfrm>
            <a:prstGeom prst="ellipse">
              <a:avLst/>
            </a:prstGeom>
            <a:solidFill>
              <a:srgbClr val="0046AD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b="0" kern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35" name="Group 106"/>
            <p:cNvGrpSpPr>
              <a:grpSpLocks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1408113" y="3265025"/>
              <a:ext cx="398462" cy="419023"/>
              <a:chOff x="1842" y="1920"/>
              <a:chExt cx="244" cy="256"/>
            </a:xfrm>
          </p:grpSpPr>
          <p:sp>
            <p:nvSpPr>
              <p:cNvPr id="47" name="Oval 107"/>
              <p:cNvSpPr>
                <a:spLocks noChangeArrowheads="1"/>
              </p:cNvSpPr>
              <p:nvPr/>
            </p:nvSpPr>
            <p:spPr bwMode="gray">
              <a:xfrm rot="-10800000">
                <a:off x="1870" y="1940"/>
                <a:ext cx="216" cy="224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Oval 108"/>
              <p:cNvSpPr>
                <a:spLocks noChangeArrowheads="1"/>
              </p:cNvSpPr>
              <p:nvPr/>
            </p:nvSpPr>
            <p:spPr bwMode="gray">
              <a:xfrm rot="-10800000">
                <a:off x="1842" y="1920"/>
                <a:ext cx="140" cy="25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6" name="Text Box 126"/>
            <p:cNvSpPr txBox="1"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425451" y="2012783"/>
              <a:ext cx="941388" cy="5936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GB" sz="1400" dirty="0" smtClean="0">
                  <a:solidFill>
                    <a:srgbClr val="FFFFFF"/>
                  </a:solidFill>
                  <a:latin typeface="+mn-lt"/>
                </a:rPr>
                <a:t>1</a:t>
              </a:r>
              <a:r>
                <a:rPr lang="en-GB" sz="1400" baseline="30000" dirty="0" smtClean="0">
                  <a:solidFill>
                    <a:srgbClr val="FFFFFF"/>
                  </a:solidFill>
                  <a:latin typeface="+mn-lt"/>
                </a:rPr>
                <a:t>st</a:t>
              </a:r>
              <a:r>
                <a:rPr lang="en-GB" sz="1400" dirty="0" smtClean="0">
                  <a:solidFill>
                    <a:srgbClr val="FFFFFF"/>
                  </a:solidFill>
                  <a:latin typeface="+mn-lt"/>
                </a:rPr>
                <a:t> </a:t>
              </a:r>
              <a:r>
                <a:rPr lang="en-GB" sz="1400" dirty="0">
                  <a:solidFill>
                    <a:srgbClr val="FFFFFF"/>
                  </a:solidFill>
                  <a:latin typeface="+mn-lt"/>
                </a:rPr>
                <a:t>Railway </a:t>
              </a:r>
              <a:r>
                <a:rPr lang="en-GB" sz="1400" dirty="0" smtClean="0">
                  <a:solidFill>
                    <a:srgbClr val="FFFFFF"/>
                  </a:solidFill>
                  <a:latin typeface="+mn-lt"/>
                </a:rPr>
                <a:t>Package</a:t>
              </a:r>
              <a:endParaRPr lang="en-GB" sz="1400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37" name="Text Box 127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1706550" y="2012784"/>
              <a:ext cx="1203350" cy="5936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GB" sz="1400" dirty="0" smtClean="0">
                  <a:solidFill>
                    <a:srgbClr val="0046AD"/>
                  </a:solidFill>
                  <a:latin typeface="+mn-lt"/>
                </a:rPr>
                <a:t>Inter-operability directives</a:t>
              </a:r>
              <a:endParaRPr lang="de-DE" sz="1400" b="1" dirty="0">
                <a:latin typeface="+mn-lt"/>
              </a:endParaRPr>
            </a:p>
          </p:txBody>
        </p:sp>
        <p:sp>
          <p:nvSpPr>
            <p:cNvPr id="38" name="Text Box 128"/>
            <p:cNvSpPr txBox="1"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3167346" y="2012785"/>
              <a:ext cx="956694" cy="5936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GB" sz="1400" dirty="0" smtClean="0">
                  <a:solidFill>
                    <a:srgbClr val="FFFFFF"/>
                  </a:solidFill>
                  <a:latin typeface="+mn-lt"/>
                </a:rPr>
                <a:t>2</a:t>
              </a:r>
              <a:r>
                <a:rPr lang="en-GB" sz="1400" baseline="30000" dirty="0" smtClean="0">
                  <a:solidFill>
                    <a:srgbClr val="FFFFFF"/>
                  </a:solidFill>
                  <a:latin typeface="+mn-lt"/>
                </a:rPr>
                <a:t>nd</a:t>
              </a:r>
              <a:r>
                <a:rPr lang="en-GB" sz="1400" dirty="0" smtClean="0">
                  <a:solidFill>
                    <a:srgbClr val="FFFFFF"/>
                  </a:solidFill>
                  <a:latin typeface="+mn-lt"/>
                </a:rPr>
                <a:t> </a:t>
              </a:r>
              <a:r>
                <a:rPr lang="en-GB" sz="1400" dirty="0">
                  <a:solidFill>
                    <a:srgbClr val="FFFFFF"/>
                  </a:solidFill>
                  <a:latin typeface="+mn-lt"/>
                </a:rPr>
                <a:t>Railway </a:t>
              </a:r>
              <a:r>
                <a:rPr lang="en-GB" sz="1400" dirty="0" smtClean="0">
                  <a:solidFill>
                    <a:srgbClr val="FFFFFF"/>
                  </a:solidFill>
                  <a:latin typeface="+mn-lt"/>
                </a:rPr>
                <a:t>Package</a:t>
              </a:r>
              <a:endParaRPr lang="en-GB" sz="1400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39" name="Text Box 129"/>
            <p:cNvSpPr txBox="1"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4573872" y="2012785"/>
              <a:ext cx="956694" cy="5936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GB" sz="1400" dirty="0" smtClean="0">
                  <a:solidFill>
                    <a:srgbClr val="FFFFFF"/>
                  </a:solidFill>
                  <a:latin typeface="+mn-lt"/>
                </a:rPr>
                <a:t>3</a:t>
              </a:r>
              <a:r>
                <a:rPr lang="en-GB" sz="1400" baseline="30000" dirty="0" smtClean="0">
                  <a:solidFill>
                    <a:srgbClr val="FFFFFF"/>
                  </a:solidFill>
                  <a:latin typeface="+mn-lt"/>
                </a:rPr>
                <a:t>rd</a:t>
              </a:r>
              <a:r>
                <a:rPr lang="en-GB" sz="1400" dirty="0" smtClean="0">
                  <a:solidFill>
                    <a:srgbClr val="FFFFFF"/>
                  </a:solidFill>
                  <a:latin typeface="+mn-lt"/>
                </a:rPr>
                <a:t> </a:t>
              </a:r>
              <a:r>
                <a:rPr lang="en-GB" sz="1400" dirty="0">
                  <a:solidFill>
                    <a:srgbClr val="FFFFFF"/>
                  </a:solidFill>
                  <a:latin typeface="+mn-lt"/>
                </a:rPr>
                <a:t>Railway </a:t>
              </a:r>
              <a:r>
                <a:rPr lang="en-GB" sz="1400" dirty="0" smtClean="0">
                  <a:solidFill>
                    <a:srgbClr val="FFFFFF"/>
                  </a:solidFill>
                  <a:latin typeface="+mn-lt"/>
                </a:rPr>
                <a:t>Package</a:t>
              </a:r>
              <a:endParaRPr lang="de-DE" sz="1400" b="1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40" name="Text Box 130"/>
            <p:cNvSpPr txBox="1"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425451" y="3106320"/>
              <a:ext cx="941388" cy="7915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GB" sz="1400" dirty="0">
                  <a:solidFill>
                    <a:srgbClr val="0046AD"/>
                  </a:solidFill>
                  <a:latin typeface="+mn-lt"/>
                </a:rPr>
                <a:t>The Trans-European </a:t>
              </a:r>
              <a:r>
                <a:rPr lang="en-GB" sz="1400" dirty="0" smtClean="0">
                  <a:solidFill>
                    <a:srgbClr val="0046AD"/>
                  </a:solidFill>
                  <a:latin typeface="+mn-lt"/>
                </a:rPr>
                <a:t>Network</a:t>
              </a:r>
              <a:endParaRPr lang="de-DE" sz="1400" b="1" dirty="0">
                <a:latin typeface="+mn-lt"/>
              </a:endParaRPr>
            </a:p>
          </p:txBody>
        </p:sp>
        <p:sp>
          <p:nvSpPr>
            <p:cNvPr id="41" name="Text Box 131"/>
            <p:cNvSpPr txBox="1"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1828603" y="3205267"/>
              <a:ext cx="959246" cy="5936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GB" sz="1400" dirty="0" smtClean="0">
                  <a:solidFill>
                    <a:srgbClr val="0046AD"/>
                  </a:solidFill>
                  <a:latin typeface="+mn-lt"/>
                </a:rPr>
                <a:t>Public </a:t>
              </a:r>
              <a:r>
                <a:rPr lang="en-GB" sz="1400" dirty="0">
                  <a:solidFill>
                    <a:srgbClr val="0046AD"/>
                  </a:solidFill>
                  <a:latin typeface="+mn-lt"/>
                </a:rPr>
                <a:t>Service </a:t>
              </a:r>
              <a:r>
                <a:rPr lang="en-GB" sz="1400" dirty="0" smtClean="0">
                  <a:solidFill>
                    <a:srgbClr val="0046AD"/>
                  </a:solidFill>
                  <a:latin typeface="+mn-lt"/>
                </a:rPr>
                <a:t>Transport</a:t>
              </a:r>
              <a:endParaRPr lang="en-GB" sz="1400" dirty="0">
                <a:solidFill>
                  <a:srgbClr val="0046AD"/>
                </a:solidFill>
                <a:latin typeface="+mn-lt"/>
              </a:endParaRPr>
            </a:p>
          </p:txBody>
        </p:sp>
        <p:sp>
          <p:nvSpPr>
            <p:cNvPr id="42" name="Text Box 132"/>
            <p:cNvSpPr txBox="1"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3167346" y="3205268"/>
              <a:ext cx="956694" cy="5936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GB" sz="1400" dirty="0">
                  <a:solidFill>
                    <a:srgbClr val="0046AD"/>
                  </a:solidFill>
                  <a:latin typeface="+mn-lt"/>
                </a:rPr>
                <a:t>State Aid </a:t>
              </a:r>
              <a:r>
                <a:rPr lang="en-GB" sz="1400" dirty="0" smtClean="0">
                  <a:solidFill>
                    <a:srgbClr val="0046AD"/>
                  </a:solidFill>
                  <a:latin typeface="+mn-lt"/>
                </a:rPr>
                <a:t>Guidelines</a:t>
              </a:r>
              <a:endParaRPr lang="en-GB" sz="1400" dirty="0">
                <a:latin typeface="+mn-lt"/>
              </a:endParaRPr>
            </a:p>
          </p:txBody>
        </p:sp>
        <p:sp>
          <p:nvSpPr>
            <p:cNvPr id="43" name="Text Box 133"/>
            <p:cNvSpPr txBox="1"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4573872" y="2993238"/>
              <a:ext cx="956694" cy="10177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GB" sz="1200" dirty="0">
                  <a:solidFill>
                    <a:srgbClr val="0046AD"/>
                  </a:solidFill>
                  <a:latin typeface="+mn-lt"/>
                </a:rPr>
                <a:t>Working conditions of cross-border mobile </a:t>
              </a:r>
              <a:r>
                <a:rPr lang="en-GB" sz="1200" dirty="0" smtClean="0">
                  <a:solidFill>
                    <a:srgbClr val="0046AD"/>
                  </a:solidFill>
                  <a:latin typeface="+mn-lt"/>
                </a:rPr>
                <a:t>workers</a:t>
              </a:r>
              <a:endParaRPr lang="en-GB" sz="1200" dirty="0">
                <a:solidFill>
                  <a:srgbClr val="0046AD"/>
                </a:solidFill>
                <a:latin typeface="+mn-lt"/>
              </a:endParaRPr>
            </a:p>
          </p:txBody>
        </p:sp>
        <p:sp>
          <p:nvSpPr>
            <p:cNvPr id="44" name="Text Box 134"/>
            <p:cNvSpPr txBox="1"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425451" y="4317411"/>
              <a:ext cx="941388" cy="5936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GB" sz="1400" dirty="0" smtClean="0">
                  <a:solidFill>
                    <a:srgbClr val="0046AD"/>
                  </a:solidFill>
                  <a:latin typeface="+mn-lt"/>
                </a:rPr>
                <a:t>Public procure-</a:t>
              </a:r>
              <a:r>
                <a:rPr lang="en-GB" sz="1400" dirty="0" err="1" smtClean="0">
                  <a:solidFill>
                    <a:srgbClr val="0046AD"/>
                  </a:solidFill>
                  <a:latin typeface="+mn-lt"/>
                </a:rPr>
                <a:t>ment</a:t>
              </a:r>
              <a:endParaRPr lang="en-GB" sz="1400" dirty="0">
                <a:solidFill>
                  <a:srgbClr val="0046AD"/>
                </a:solidFill>
                <a:latin typeface="+mn-lt"/>
              </a:endParaRPr>
            </a:p>
          </p:txBody>
        </p:sp>
        <p:sp>
          <p:nvSpPr>
            <p:cNvPr id="45" name="Text Box 135"/>
            <p:cNvSpPr txBox="1"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1828603" y="4218464"/>
              <a:ext cx="959246" cy="7915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GB" sz="1400" dirty="0" smtClean="0">
                  <a:solidFill>
                    <a:srgbClr val="FFFFFF"/>
                  </a:solidFill>
                  <a:latin typeface="+mn-lt"/>
                </a:rPr>
                <a:t>Environ-mental legislation</a:t>
              </a:r>
              <a:endParaRPr lang="en-GB" sz="1400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46" name="Text Box 136"/>
            <p:cNvSpPr txBox="1"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3167346" y="4317412"/>
              <a:ext cx="956694" cy="5936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GB" sz="1400" dirty="0">
                  <a:solidFill>
                    <a:srgbClr val="0046AD"/>
                  </a:solidFill>
                  <a:latin typeface="+mn-lt"/>
                </a:rPr>
                <a:t>Safety directive (</a:t>
              </a:r>
              <a:r>
                <a:rPr lang="en-GB" sz="1400" dirty="0" smtClean="0">
                  <a:solidFill>
                    <a:srgbClr val="0046AD"/>
                  </a:solidFill>
                  <a:latin typeface="+mn-lt"/>
                </a:rPr>
                <a:t>revision)</a:t>
              </a:r>
              <a:endParaRPr lang="de-DE" sz="1400" dirty="0">
                <a:latin typeface="+mn-lt"/>
              </a:endParaRPr>
            </a:p>
          </p:txBody>
        </p:sp>
      </p:grpSp>
      <p:sp>
        <p:nvSpPr>
          <p:cNvPr id="75" name="Line Callout 1 (Accent Bar) 74"/>
          <p:cNvSpPr/>
          <p:nvPr/>
        </p:nvSpPr>
        <p:spPr bwMode="auto">
          <a:xfrm>
            <a:off x="105932" y="959008"/>
            <a:ext cx="2161812" cy="1647032"/>
          </a:xfrm>
          <a:prstGeom prst="accentCallout1">
            <a:avLst>
              <a:gd name="adj1" fmla="val 32570"/>
              <a:gd name="adj2" fmla="val 100110"/>
              <a:gd name="adj3" fmla="val 82617"/>
              <a:gd name="adj4" fmla="val 116184"/>
            </a:avLst>
          </a:prstGeom>
          <a:solidFill>
            <a:schemeClr val="bg1"/>
          </a:solidFill>
          <a:ln w="28575" cap="flat" cmpd="sng" algn="ctr">
            <a:solidFill>
              <a:srgbClr val="CC0066"/>
            </a:solidFill>
            <a:prstDash val="solid"/>
            <a:round/>
            <a:headEnd type="none" w="med" len="med"/>
            <a:tailEnd type="oval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n-GB" sz="1400" b="1" dirty="0">
                <a:solidFill>
                  <a:srgbClr val="C00000"/>
                </a:solidFill>
              </a:rPr>
              <a:t>International freight market opening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GB" sz="1400" b="0" dirty="0">
                <a:solidFill>
                  <a:srgbClr val="7F7F7F"/>
                </a:solidFill>
              </a:rPr>
              <a:t>Accounts separatio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GB" sz="1400" b="0" dirty="0">
                <a:solidFill>
                  <a:srgbClr val="7F7F7F"/>
                </a:solidFill>
              </a:rPr>
              <a:t>Establishment of RB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GB" sz="1400" b="0" dirty="0">
                <a:solidFill>
                  <a:srgbClr val="7F7F7F"/>
                </a:solidFill>
              </a:rPr>
              <a:t>Compulsory NS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GB" sz="1400" b="0" dirty="0">
                <a:solidFill>
                  <a:srgbClr val="7F7F7F"/>
                </a:solidFill>
              </a:rPr>
              <a:t>MACs </a:t>
            </a:r>
          </a:p>
        </p:txBody>
      </p:sp>
      <p:sp>
        <p:nvSpPr>
          <p:cNvPr id="76" name="Line Callout 1 (Accent Bar) 75"/>
          <p:cNvSpPr/>
          <p:nvPr/>
        </p:nvSpPr>
        <p:spPr bwMode="auto">
          <a:xfrm>
            <a:off x="5160264" y="1015804"/>
            <a:ext cx="2824256" cy="812996"/>
          </a:xfrm>
          <a:prstGeom prst="accentCallout1">
            <a:avLst>
              <a:gd name="adj1" fmla="val 46017"/>
              <a:gd name="adj2" fmla="val -35"/>
              <a:gd name="adj3" fmla="val 167324"/>
              <a:gd name="adj4" fmla="val -3040"/>
            </a:avLst>
          </a:prstGeom>
          <a:solidFill>
            <a:schemeClr val="bg1"/>
          </a:solidFill>
          <a:ln w="28575" cap="flat" cmpd="sng" algn="ctr">
            <a:solidFill>
              <a:srgbClr val="CC0066"/>
            </a:solidFill>
            <a:prstDash val="solid"/>
            <a:round/>
            <a:headEnd type="none" w="med" len="med"/>
            <a:tailEnd type="oval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n-GB" sz="1400" b="1" dirty="0">
                <a:solidFill>
                  <a:srgbClr val="C00000"/>
                </a:solidFill>
              </a:rPr>
              <a:t>Opening int’l and domestic freight mk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GB" sz="1400" b="0" dirty="0">
                <a:solidFill>
                  <a:srgbClr val="7F7F7F"/>
                </a:solidFill>
              </a:rPr>
              <a:t>Establishment of ERA</a:t>
            </a:r>
          </a:p>
        </p:txBody>
      </p:sp>
      <p:sp>
        <p:nvSpPr>
          <p:cNvPr id="77" name="Line Callout 1 (Accent Bar) 76"/>
          <p:cNvSpPr/>
          <p:nvPr/>
        </p:nvSpPr>
        <p:spPr bwMode="auto">
          <a:xfrm>
            <a:off x="7240134" y="2642254"/>
            <a:ext cx="1724354" cy="1650842"/>
          </a:xfrm>
          <a:prstGeom prst="accentCallout1">
            <a:avLst>
              <a:gd name="adj1" fmla="val 43328"/>
              <a:gd name="adj2" fmla="val -441"/>
              <a:gd name="adj3" fmla="val 17598"/>
              <a:gd name="adj4" fmla="val -17693"/>
            </a:avLst>
          </a:prstGeom>
          <a:solidFill>
            <a:schemeClr val="bg1"/>
          </a:solidFill>
          <a:ln w="28575" cap="flat" cmpd="sng" algn="ctr">
            <a:solidFill>
              <a:srgbClr val="CC0066"/>
            </a:solidFill>
            <a:prstDash val="solid"/>
            <a:round/>
            <a:headEnd type="none" w="med" len="med"/>
            <a:tailEnd type="oval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n-GB" sz="1400" b="1" dirty="0">
                <a:solidFill>
                  <a:srgbClr val="C00000"/>
                </a:solidFill>
              </a:rPr>
              <a:t>Opening int’l passenger market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GB" sz="1400" b="0" dirty="0">
                <a:solidFill>
                  <a:srgbClr val="7F7F7F"/>
                </a:solidFill>
              </a:rPr>
              <a:t>Rail passenger right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GB" sz="1400" b="0" dirty="0">
                <a:solidFill>
                  <a:srgbClr val="7F7F7F"/>
                </a:solidFill>
              </a:rPr>
              <a:t>Certification of train drivers</a:t>
            </a:r>
          </a:p>
        </p:txBody>
      </p:sp>
      <p:sp>
        <p:nvSpPr>
          <p:cNvPr id="78" name="Line Callout 2 (Accent Bar) 77"/>
          <p:cNvSpPr/>
          <p:nvPr/>
        </p:nvSpPr>
        <p:spPr bwMode="auto">
          <a:xfrm>
            <a:off x="160808" y="5245961"/>
            <a:ext cx="1872208" cy="1224136"/>
          </a:xfrm>
          <a:prstGeom prst="accentCallout2">
            <a:avLst>
              <a:gd name="adj1" fmla="val 80631"/>
              <a:gd name="adj2" fmla="val 100043"/>
              <a:gd name="adj3" fmla="val 43605"/>
              <a:gd name="adj4" fmla="val 166742"/>
              <a:gd name="adj5" fmla="val 40903"/>
              <a:gd name="adj6" fmla="val 171285"/>
            </a:avLst>
          </a:prstGeom>
          <a:solidFill>
            <a:schemeClr val="bg1"/>
          </a:solidFill>
          <a:ln w="28575" cap="flat" cmpd="sng" algn="ctr">
            <a:solidFill>
              <a:srgbClr val="CC0066"/>
            </a:solidFill>
            <a:prstDash val="solid"/>
            <a:round/>
            <a:headEnd type="none" w="med" len="med"/>
            <a:tailEnd type="oval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n-GB" sz="1400" b="0" dirty="0">
                <a:solidFill>
                  <a:srgbClr val="7F7F7F"/>
                </a:solidFill>
              </a:rPr>
              <a:t>Environmental nois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GB" sz="1400" b="0" dirty="0">
                <a:solidFill>
                  <a:srgbClr val="7F7F7F"/>
                </a:solidFill>
              </a:rPr>
              <a:t>Diesel emission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GB" sz="1400" b="0" dirty="0">
                <a:solidFill>
                  <a:srgbClr val="7F7F7F"/>
                </a:solidFill>
              </a:rPr>
              <a:t>Environmental liability</a:t>
            </a:r>
          </a:p>
        </p:txBody>
      </p:sp>
      <p:sp>
        <p:nvSpPr>
          <p:cNvPr id="79" name="Oval 78"/>
          <p:cNvSpPr/>
          <p:nvPr/>
        </p:nvSpPr>
        <p:spPr>
          <a:xfrm rot="18605824">
            <a:off x="2776294" y="1988372"/>
            <a:ext cx="785119" cy="510952"/>
          </a:xfrm>
          <a:prstGeom prst="ellipse">
            <a:avLst/>
          </a:prstGeom>
          <a:solidFill>
            <a:srgbClr val="CC006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it-IT" sz="2400" dirty="0">
                <a:solidFill>
                  <a:schemeClr val="bg1"/>
                </a:solidFill>
              </a:rPr>
              <a:t>‘01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80" name="Oval 79"/>
          <p:cNvSpPr/>
          <p:nvPr/>
        </p:nvSpPr>
        <p:spPr>
          <a:xfrm rot="18605824">
            <a:off x="5307467" y="1993164"/>
            <a:ext cx="785119" cy="510952"/>
          </a:xfrm>
          <a:prstGeom prst="ellipse">
            <a:avLst/>
          </a:prstGeom>
          <a:solidFill>
            <a:srgbClr val="CC006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it-IT" sz="2400" dirty="0">
                <a:solidFill>
                  <a:schemeClr val="bg1"/>
                </a:solidFill>
              </a:rPr>
              <a:t>‘04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81" name="Oval 80"/>
          <p:cNvSpPr/>
          <p:nvPr/>
        </p:nvSpPr>
        <p:spPr>
          <a:xfrm rot="18605824">
            <a:off x="6573749" y="1983843"/>
            <a:ext cx="785119" cy="510952"/>
          </a:xfrm>
          <a:prstGeom prst="ellipse">
            <a:avLst/>
          </a:prstGeom>
          <a:solidFill>
            <a:srgbClr val="CC006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it-IT" sz="2400" dirty="0">
                <a:solidFill>
                  <a:schemeClr val="bg1"/>
                </a:solidFill>
              </a:rPr>
              <a:t>‘07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82" name="Oval 81"/>
          <p:cNvSpPr/>
          <p:nvPr/>
        </p:nvSpPr>
        <p:spPr>
          <a:xfrm rot="18605824">
            <a:off x="4042894" y="3257044"/>
            <a:ext cx="785119" cy="510952"/>
          </a:xfrm>
          <a:prstGeom prst="ellipse">
            <a:avLst/>
          </a:prstGeom>
          <a:solidFill>
            <a:srgbClr val="CC006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it-IT" sz="2400" dirty="0">
                <a:solidFill>
                  <a:schemeClr val="bg1"/>
                </a:solidFill>
              </a:rPr>
              <a:t>‘07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83" name="Oval 82"/>
          <p:cNvSpPr/>
          <p:nvPr/>
        </p:nvSpPr>
        <p:spPr>
          <a:xfrm rot="18605824">
            <a:off x="5325733" y="4504332"/>
            <a:ext cx="785119" cy="510952"/>
          </a:xfrm>
          <a:prstGeom prst="ellipse">
            <a:avLst/>
          </a:prstGeom>
          <a:solidFill>
            <a:srgbClr val="CC006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it-IT" sz="2400" dirty="0">
                <a:solidFill>
                  <a:schemeClr val="bg1"/>
                </a:solidFill>
              </a:rPr>
              <a:t>‘08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509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GB" sz="3200" dirty="0" smtClean="0"/>
              <a:t>EU rail legislation (2)</a:t>
            </a:r>
            <a:endParaRPr lang="en-GB" sz="3200" dirty="0"/>
          </a:p>
        </p:txBody>
      </p:sp>
      <p:sp>
        <p:nvSpPr>
          <p:cNvPr id="5" name="Rectangle 2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064556" y="2966661"/>
            <a:ext cx="1432558" cy="1483125"/>
          </a:xfrm>
          <a:prstGeom prst="rect">
            <a:avLst/>
          </a:prstGeom>
          <a:solidFill>
            <a:srgbClr val="71C012"/>
          </a:solidFill>
          <a:ln w="9525">
            <a:solidFill>
              <a:srgbClr val="878C96"/>
            </a:solidFill>
            <a:miter lim="800000"/>
            <a:headEnd/>
            <a:tailEnd/>
          </a:ln>
          <a:effectLst/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kern="0" dirty="0">
                <a:solidFill>
                  <a:schemeClr val="bg1"/>
                </a:solidFill>
              </a:rPr>
              <a:t>4</a:t>
            </a:r>
            <a:r>
              <a:rPr kumimoji="0" lang="de-DE" sz="1400" i="0" u="none" strike="noStrike" kern="0" cap="none" spc="0" normalizeH="0" baseline="3000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h</a:t>
            </a:r>
            <a:r>
              <a:rPr kumimoji="0" lang="de-DE" sz="140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railway</a:t>
            </a:r>
            <a:r>
              <a:rPr kumimoji="0" lang="de-DE" sz="1400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package</a:t>
            </a:r>
            <a:endParaRPr kumimoji="0" lang="de-DE" sz="140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771800" y="1484784"/>
            <a:ext cx="5725314" cy="3257058"/>
            <a:chOff x="2015038" y="2120964"/>
            <a:chExt cx="5725314" cy="3257058"/>
          </a:xfrm>
        </p:grpSpPr>
        <p:sp>
          <p:nvSpPr>
            <p:cNvPr id="7" name="Rectangl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015038" y="3606166"/>
              <a:ext cx="1432558" cy="1483125"/>
            </a:xfrm>
            <a:prstGeom prst="rect">
              <a:avLst/>
            </a:prstGeom>
            <a:solidFill>
              <a:srgbClr val="0046AD"/>
            </a:solidFill>
            <a:ln w="9525">
              <a:solidFill>
                <a:srgbClr val="878C9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" name="Rectangle 3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4871672" y="3605613"/>
              <a:ext cx="1448415" cy="147758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878C96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Rectangle 3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447596" y="3606166"/>
              <a:ext cx="1430919" cy="1483125"/>
            </a:xfrm>
            <a:prstGeom prst="rect">
              <a:avLst/>
            </a:prstGeom>
            <a:solidFill>
              <a:srgbClr val="0046AD"/>
            </a:solidFill>
            <a:ln w="9525">
              <a:solidFill>
                <a:srgbClr val="878C9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b="0" kern="0">
                <a:solidFill>
                  <a:schemeClr val="bg1"/>
                </a:solidFill>
              </a:endParaRPr>
            </a:p>
          </p:txBody>
        </p:sp>
        <p:sp>
          <p:nvSpPr>
            <p:cNvPr id="10" name="Rectangle 3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447596" y="2120964"/>
              <a:ext cx="1430919" cy="148520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878C96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Rectangle 3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878515" y="2120964"/>
              <a:ext cx="1432558" cy="148520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878C96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Rectangle 3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6311072" y="2120964"/>
              <a:ext cx="1429280" cy="148520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878C96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Oval 41"/>
            <p:cNvSpPr>
              <a:spLocks noChangeArrowheads="1"/>
            </p:cNvSpPr>
            <p:nvPr/>
          </p:nvSpPr>
          <p:spPr bwMode="gray">
            <a:xfrm rot="16200000">
              <a:off x="2503416" y="3472961"/>
              <a:ext cx="465225" cy="378628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Oval 44"/>
            <p:cNvSpPr>
              <a:spLocks noChangeArrowheads="1"/>
            </p:cNvSpPr>
            <p:nvPr/>
          </p:nvSpPr>
          <p:spPr bwMode="gray">
            <a:xfrm rot="16200000">
              <a:off x="2503415" y="4956095"/>
              <a:ext cx="465226" cy="378628"/>
            </a:xfrm>
            <a:prstGeom prst="ellipse">
              <a:avLst/>
            </a:prstGeom>
            <a:solidFill>
              <a:srgbClr val="0046AD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5" name="Group 52"/>
            <p:cNvGrpSpPr>
              <a:grpSpLocks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388269" y="4800559"/>
              <a:ext cx="432718" cy="525532"/>
              <a:chOff x="3102" y="2250"/>
              <a:chExt cx="256" cy="244"/>
            </a:xfrm>
            <a:solidFill>
              <a:schemeClr val="bg1"/>
            </a:solidFill>
          </p:grpSpPr>
          <p:sp>
            <p:nvSpPr>
              <p:cNvPr id="50" name="Oval 53"/>
              <p:cNvSpPr>
                <a:spLocks noChangeArrowheads="1"/>
              </p:cNvSpPr>
              <p:nvPr/>
            </p:nvSpPr>
            <p:spPr bwMode="gray">
              <a:xfrm rot="5400000" flipV="1">
                <a:off x="3118" y="2246"/>
                <a:ext cx="216" cy="224"/>
              </a:xfrm>
              <a:prstGeom prst="ellipse">
                <a:avLst/>
              </a:prstGeom>
              <a:grpFill/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Oval 54"/>
              <p:cNvSpPr>
                <a:spLocks noChangeArrowheads="1"/>
              </p:cNvSpPr>
              <p:nvPr/>
            </p:nvSpPr>
            <p:spPr bwMode="gray">
              <a:xfrm rot="5400000" flipV="1">
                <a:off x="3160" y="2296"/>
                <a:ext cx="140" cy="256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6" name="Group 58"/>
            <p:cNvGrpSpPr>
              <a:grpSpLocks/>
            </p:cNvGrpSpPr>
            <p:nvPr>
              <p:custDataLst>
                <p:tags r:id="rId9"/>
              </p:custDataLst>
            </p:nvPr>
          </p:nvGrpSpPr>
          <p:grpSpPr bwMode="gray">
            <a:xfrm>
              <a:off x="6806075" y="3323665"/>
              <a:ext cx="432718" cy="525533"/>
              <a:chOff x="3942" y="1566"/>
              <a:chExt cx="256" cy="244"/>
            </a:xfrm>
            <a:solidFill>
              <a:schemeClr val="bg1"/>
            </a:solidFill>
          </p:grpSpPr>
          <p:sp>
            <p:nvSpPr>
              <p:cNvPr id="48" name="Oval 59"/>
              <p:cNvSpPr>
                <a:spLocks noChangeArrowheads="1"/>
              </p:cNvSpPr>
              <p:nvPr/>
            </p:nvSpPr>
            <p:spPr bwMode="gray">
              <a:xfrm rot="5400000" flipV="1">
                <a:off x="3958" y="1562"/>
                <a:ext cx="216" cy="224"/>
              </a:xfrm>
              <a:prstGeom prst="ellipse">
                <a:avLst/>
              </a:prstGeom>
              <a:grpFill/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Oval 60"/>
              <p:cNvSpPr>
                <a:spLocks noChangeArrowheads="1"/>
              </p:cNvSpPr>
              <p:nvPr/>
            </p:nvSpPr>
            <p:spPr bwMode="gray">
              <a:xfrm rot="5400000" flipV="1">
                <a:off x="4000" y="1612"/>
                <a:ext cx="140" cy="256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7" name="Group 61"/>
            <p:cNvGrpSpPr>
              <a:grpSpLocks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3219764" y="2625724"/>
              <a:ext cx="411409" cy="550461"/>
              <a:chOff x="1818" y="1242"/>
              <a:chExt cx="244" cy="256"/>
            </a:xfrm>
            <a:solidFill>
              <a:schemeClr val="bg1"/>
            </a:solidFill>
          </p:grpSpPr>
          <p:sp>
            <p:nvSpPr>
              <p:cNvPr id="46" name="Oval 62"/>
              <p:cNvSpPr>
                <a:spLocks noChangeArrowheads="1"/>
              </p:cNvSpPr>
              <p:nvPr/>
            </p:nvSpPr>
            <p:spPr bwMode="gray">
              <a:xfrm>
                <a:off x="1818" y="1254"/>
                <a:ext cx="216" cy="224"/>
              </a:xfrm>
              <a:prstGeom prst="ellipse">
                <a:avLst/>
              </a:prstGeom>
              <a:grpFill/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Oval 63"/>
              <p:cNvSpPr>
                <a:spLocks noChangeArrowheads="1"/>
              </p:cNvSpPr>
              <p:nvPr/>
            </p:nvSpPr>
            <p:spPr bwMode="gray">
              <a:xfrm>
                <a:off x="1922" y="1242"/>
                <a:ext cx="140" cy="256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8" name="Group 64"/>
            <p:cNvGrpSpPr>
              <a:grpSpLocks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4694938" y="2625724"/>
              <a:ext cx="411409" cy="550461"/>
              <a:chOff x="2692" y="1242"/>
              <a:chExt cx="244" cy="256"/>
            </a:xfrm>
            <a:solidFill>
              <a:schemeClr val="bg1"/>
            </a:solidFill>
          </p:grpSpPr>
          <p:sp>
            <p:nvSpPr>
              <p:cNvPr id="44" name="Oval 65"/>
              <p:cNvSpPr>
                <a:spLocks noChangeArrowheads="1"/>
              </p:cNvSpPr>
              <p:nvPr/>
            </p:nvSpPr>
            <p:spPr bwMode="gray">
              <a:xfrm rot="-10800000">
                <a:off x="2720" y="1262"/>
                <a:ext cx="216" cy="224"/>
              </a:xfrm>
              <a:prstGeom prst="ellipse">
                <a:avLst/>
              </a:prstGeom>
              <a:grpFill/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" name="Oval 66"/>
              <p:cNvSpPr>
                <a:spLocks noChangeArrowheads="1"/>
              </p:cNvSpPr>
              <p:nvPr/>
            </p:nvSpPr>
            <p:spPr bwMode="gray">
              <a:xfrm rot="-10800000">
                <a:off x="2692" y="1242"/>
                <a:ext cx="140" cy="256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9" name="Group 67"/>
            <p:cNvGrpSpPr>
              <a:grpSpLocks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6086518" y="2625724"/>
              <a:ext cx="411410" cy="550461"/>
              <a:chOff x="3516" y="1242"/>
              <a:chExt cx="244" cy="256"/>
            </a:xfrm>
            <a:solidFill>
              <a:schemeClr val="bg1"/>
            </a:solidFill>
          </p:grpSpPr>
          <p:sp>
            <p:nvSpPr>
              <p:cNvPr id="42" name="Oval 68"/>
              <p:cNvSpPr>
                <a:spLocks noChangeArrowheads="1"/>
              </p:cNvSpPr>
              <p:nvPr/>
            </p:nvSpPr>
            <p:spPr bwMode="gray">
              <a:xfrm>
                <a:off x="3516" y="1254"/>
                <a:ext cx="216" cy="224"/>
              </a:xfrm>
              <a:prstGeom prst="ellipse">
                <a:avLst/>
              </a:prstGeom>
              <a:grpFill/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" name="Oval 69"/>
              <p:cNvSpPr>
                <a:spLocks noChangeArrowheads="1"/>
              </p:cNvSpPr>
              <p:nvPr/>
            </p:nvSpPr>
            <p:spPr bwMode="gray">
              <a:xfrm>
                <a:off x="3620" y="1242"/>
                <a:ext cx="140" cy="256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0" name="Group 70"/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3950794" y="4850411"/>
              <a:ext cx="431078" cy="525532"/>
              <a:chOff x="2250" y="2274"/>
              <a:chExt cx="256" cy="244"/>
            </a:xfrm>
            <a:solidFill>
              <a:schemeClr val="bg1"/>
            </a:solidFill>
          </p:grpSpPr>
          <p:sp>
            <p:nvSpPr>
              <p:cNvPr id="40" name="Oval 71"/>
              <p:cNvSpPr>
                <a:spLocks noChangeArrowheads="1"/>
              </p:cNvSpPr>
              <p:nvPr/>
            </p:nvSpPr>
            <p:spPr bwMode="gray">
              <a:xfrm rot="-5400000">
                <a:off x="2266" y="2298"/>
                <a:ext cx="216" cy="224"/>
              </a:xfrm>
              <a:prstGeom prst="ellipse">
                <a:avLst/>
              </a:prstGeom>
              <a:solidFill>
                <a:srgbClr val="0046AD"/>
              </a:solidFill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" name="Oval 72"/>
              <p:cNvSpPr>
                <a:spLocks noChangeArrowheads="1"/>
              </p:cNvSpPr>
              <p:nvPr/>
            </p:nvSpPr>
            <p:spPr bwMode="gray">
              <a:xfrm rot="-5400000">
                <a:off x="2308" y="2216"/>
                <a:ext cx="140" cy="256"/>
              </a:xfrm>
              <a:prstGeom prst="ellipse">
                <a:avLst/>
              </a:prstGeom>
              <a:solidFill>
                <a:srgbClr val="0046A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1" name="Group 79"/>
            <p:cNvGrpSpPr>
              <a:grpSpLocks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5388269" y="3375595"/>
              <a:ext cx="432718" cy="527610"/>
              <a:chOff x="3102" y="1590"/>
              <a:chExt cx="256" cy="244"/>
            </a:xfrm>
            <a:solidFill>
              <a:schemeClr val="bg1"/>
            </a:solidFill>
          </p:grpSpPr>
          <p:sp>
            <p:nvSpPr>
              <p:cNvPr id="38" name="Oval 80"/>
              <p:cNvSpPr>
                <a:spLocks noChangeArrowheads="1"/>
              </p:cNvSpPr>
              <p:nvPr/>
            </p:nvSpPr>
            <p:spPr bwMode="gray">
              <a:xfrm rot="-5400000">
                <a:off x="3118" y="1614"/>
                <a:ext cx="216" cy="224"/>
              </a:xfrm>
              <a:prstGeom prst="ellipse">
                <a:avLst/>
              </a:prstGeom>
              <a:grpFill/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" name="Oval 81"/>
              <p:cNvSpPr>
                <a:spLocks noChangeArrowheads="1"/>
              </p:cNvSpPr>
              <p:nvPr/>
            </p:nvSpPr>
            <p:spPr bwMode="gray">
              <a:xfrm rot="-5400000">
                <a:off x="3160" y="1532"/>
                <a:ext cx="140" cy="256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2" name="Group 85"/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3950794" y="3323665"/>
              <a:ext cx="431078" cy="525533"/>
              <a:chOff x="2250" y="1566"/>
              <a:chExt cx="256" cy="244"/>
            </a:xfrm>
            <a:solidFill>
              <a:schemeClr val="bg1"/>
            </a:solidFill>
          </p:grpSpPr>
          <p:sp>
            <p:nvSpPr>
              <p:cNvPr id="36" name="Oval 86"/>
              <p:cNvSpPr>
                <a:spLocks noChangeArrowheads="1"/>
              </p:cNvSpPr>
              <p:nvPr/>
            </p:nvSpPr>
            <p:spPr bwMode="gray">
              <a:xfrm rot="5400000" flipV="1">
                <a:off x="2266" y="1562"/>
                <a:ext cx="216" cy="224"/>
              </a:xfrm>
              <a:prstGeom prst="ellipse">
                <a:avLst/>
              </a:prstGeom>
              <a:solidFill>
                <a:srgbClr val="0046AD"/>
              </a:solidFill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" name="Oval 87"/>
              <p:cNvSpPr>
                <a:spLocks noChangeArrowheads="1"/>
              </p:cNvSpPr>
              <p:nvPr/>
            </p:nvSpPr>
            <p:spPr bwMode="gray">
              <a:xfrm rot="5400000" flipV="1">
                <a:off x="2308" y="1612"/>
                <a:ext cx="140" cy="256"/>
              </a:xfrm>
              <a:prstGeom prst="ellipse">
                <a:avLst/>
              </a:prstGeom>
              <a:solidFill>
                <a:srgbClr val="0046A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3" name="Group 94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4658878" y="4088077"/>
              <a:ext cx="411409" cy="552536"/>
              <a:chOff x="2670" y="1920"/>
              <a:chExt cx="244" cy="256"/>
            </a:xfrm>
            <a:solidFill>
              <a:schemeClr val="bg1"/>
            </a:solidFill>
          </p:grpSpPr>
          <p:sp>
            <p:nvSpPr>
              <p:cNvPr id="34" name="Oval 95"/>
              <p:cNvSpPr>
                <a:spLocks noChangeArrowheads="1"/>
              </p:cNvSpPr>
              <p:nvPr/>
            </p:nvSpPr>
            <p:spPr bwMode="gray">
              <a:xfrm>
                <a:off x="2670" y="1932"/>
                <a:ext cx="216" cy="224"/>
              </a:xfrm>
              <a:prstGeom prst="ellipse">
                <a:avLst/>
              </a:prstGeom>
              <a:grpFill/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Oval 96"/>
              <p:cNvSpPr>
                <a:spLocks noChangeArrowheads="1"/>
              </p:cNvSpPr>
              <p:nvPr/>
            </p:nvSpPr>
            <p:spPr bwMode="gray">
              <a:xfrm>
                <a:off x="2774" y="1920"/>
                <a:ext cx="140" cy="256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4" name="Group 97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127495" y="4088077"/>
              <a:ext cx="411409" cy="552536"/>
              <a:chOff x="3540" y="1920"/>
              <a:chExt cx="244" cy="256"/>
            </a:xfrm>
            <a:solidFill>
              <a:schemeClr val="bg1"/>
            </a:solidFill>
          </p:grpSpPr>
          <p:sp>
            <p:nvSpPr>
              <p:cNvPr id="32" name="Oval 98"/>
              <p:cNvSpPr>
                <a:spLocks noChangeArrowheads="1"/>
              </p:cNvSpPr>
              <p:nvPr/>
            </p:nvSpPr>
            <p:spPr bwMode="gray">
              <a:xfrm rot="10800000">
                <a:off x="3568" y="1940"/>
                <a:ext cx="216" cy="224"/>
              </a:xfrm>
              <a:prstGeom prst="ellipse">
                <a:avLst/>
              </a:prstGeom>
              <a:grpFill/>
              <a:ln w="9525">
                <a:solidFill>
                  <a:srgbClr val="878C9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Oval 99"/>
              <p:cNvSpPr>
                <a:spLocks noChangeArrowheads="1"/>
              </p:cNvSpPr>
              <p:nvPr/>
            </p:nvSpPr>
            <p:spPr bwMode="gray">
              <a:xfrm rot="-10800000">
                <a:off x="3540" y="1920"/>
                <a:ext cx="140" cy="256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53882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25" name="Oval 107"/>
            <p:cNvSpPr>
              <a:spLocks noChangeArrowheads="1"/>
            </p:cNvSpPr>
            <p:nvPr/>
          </p:nvSpPr>
          <p:spPr bwMode="gray">
            <a:xfrm rot="10800000">
              <a:off x="3239175" y="4131244"/>
              <a:ext cx="364198" cy="483469"/>
            </a:xfrm>
            <a:prstGeom prst="ellipse">
              <a:avLst/>
            </a:prstGeom>
            <a:solidFill>
              <a:srgbClr val="0046AD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Text Box 127"/>
            <p:cNvSpPr txBox="1"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3570514" y="2505086"/>
              <a:ext cx="1242450" cy="6463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defPPr>
                <a:defRPr lang="fr-FR"/>
              </a:defPPr>
              <a:lvl1pPr algn="ctr" defTabSz="900113">
                <a:defRPr sz="1400">
                  <a:solidFill>
                    <a:srgbClr val="0046AD"/>
                  </a:solidFill>
                </a:defRPr>
              </a:lvl1pPr>
              <a:lvl2pPr defTabSz="900113">
                <a:defRPr sz="2400">
                  <a:latin typeface="Times New Roman" pitchFamily="18" charset="0"/>
                </a:defRPr>
              </a:lvl2pPr>
              <a:lvl3pPr defTabSz="900113">
                <a:defRPr sz="2400">
                  <a:latin typeface="Times New Roman" pitchFamily="18" charset="0"/>
                </a:defRPr>
              </a:lvl3pPr>
              <a:lvl4pPr defTabSz="900113">
                <a:defRPr sz="2400">
                  <a:latin typeface="Times New Roman" pitchFamily="18" charset="0"/>
                </a:defRPr>
              </a:lvl4pPr>
              <a:lvl5pPr defTabSz="900113">
                <a:defRPr sz="2400">
                  <a:latin typeface="Times New Roman" pitchFamily="18" charset="0"/>
                </a:defRPr>
              </a:lvl5pPr>
              <a:lvl6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latin typeface="Times New Roman" pitchFamily="18" charset="0"/>
                </a:defRPr>
              </a:lvl6pPr>
              <a:lvl7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latin typeface="Times New Roman" pitchFamily="18" charset="0"/>
                </a:defRPr>
              </a:lvl7pPr>
              <a:lvl8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latin typeface="Times New Roman" pitchFamily="18" charset="0"/>
                </a:defRPr>
              </a:lvl8pPr>
              <a:lvl9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latin typeface="Times New Roman" pitchFamily="18" charset="0"/>
                </a:defRPr>
              </a:lvl9pPr>
            </a:lstStyle>
            <a:p>
              <a:r>
                <a:rPr lang="en-GB" dirty="0" smtClean="0"/>
                <a:t>Rail </a:t>
              </a:r>
              <a:r>
                <a:rPr lang="en-GB" dirty="0"/>
                <a:t>freight corridor regulation</a:t>
              </a:r>
            </a:p>
          </p:txBody>
        </p:sp>
        <p:sp>
          <p:nvSpPr>
            <p:cNvPr id="27" name="Text Box 128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5078776" y="2612812"/>
              <a:ext cx="987779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GB" sz="1400" dirty="0" smtClean="0">
                  <a:solidFill>
                    <a:srgbClr val="0046AD"/>
                  </a:solidFill>
                  <a:latin typeface="+mn-lt"/>
                </a:rPr>
                <a:t>Euro-</a:t>
              </a:r>
            </a:p>
            <a:p>
              <a:pPr algn="ctr"/>
              <a:r>
                <a:rPr lang="en-GB" sz="1400" dirty="0" smtClean="0">
                  <a:solidFill>
                    <a:srgbClr val="0046AD"/>
                  </a:solidFill>
                  <a:latin typeface="+mn-lt"/>
                </a:rPr>
                <a:t>vignette</a:t>
              </a:r>
              <a:endParaRPr lang="en-GB" sz="1400" dirty="0">
                <a:solidFill>
                  <a:srgbClr val="0046AD"/>
                </a:solidFill>
                <a:latin typeface="+mn-lt"/>
              </a:endParaRPr>
            </a:p>
          </p:txBody>
        </p:sp>
        <p:sp>
          <p:nvSpPr>
            <p:cNvPr id="28" name="Text Box 129"/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531003" y="2505090"/>
              <a:ext cx="987779" cy="6463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GB" sz="1400" dirty="0" smtClean="0">
                  <a:solidFill>
                    <a:srgbClr val="0046AD"/>
                  </a:solidFill>
                  <a:latin typeface="+mn-lt"/>
                </a:rPr>
                <a:t>Passenger rights on all modes</a:t>
              </a:r>
              <a:endParaRPr lang="de-DE" sz="1400" b="1" dirty="0">
                <a:latin typeface="+mn-lt"/>
              </a:endParaRPr>
            </a:p>
          </p:txBody>
        </p:sp>
        <p:sp>
          <p:nvSpPr>
            <p:cNvPr id="29" name="Text Box 130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2247788" y="3969808"/>
              <a:ext cx="971976" cy="8617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GB" sz="1400" dirty="0" smtClean="0">
                  <a:solidFill>
                    <a:srgbClr val="FFFFFF"/>
                  </a:solidFill>
                  <a:latin typeface="+mn-lt"/>
                </a:rPr>
                <a:t>Recast of the 1</a:t>
              </a:r>
              <a:r>
                <a:rPr lang="en-GB" sz="1400" baseline="30000" dirty="0" smtClean="0">
                  <a:solidFill>
                    <a:srgbClr val="FFFFFF"/>
                  </a:solidFill>
                  <a:latin typeface="+mn-lt"/>
                </a:rPr>
                <a:t>st</a:t>
              </a:r>
              <a:r>
                <a:rPr lang="en-GB" sz="1400" dirty="0" smtClean="0">
                  <a:solidFill>
                    <a:srgbClr val="FFFFFF"/>
                  </a:solidFill>
                  <a:latin typeface="+mn-lt"/>
                </a:rPr>
                <a:t> railway package</a:t>
              </a:r>
              <a:endParaRPr lang="de-DE" sz="1400" b="1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30" name="Text Box 131"/>
            <p:cNvSpPr txBox="1"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3662838" y="4185252"/>
              <a:ext cx="990414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GB" sz="1400" dirty="0" smtClean="0">
                  <a:solidFill>
                    <a:schemeClr val="bg1"/>
                  </a:solidFill>
                  <a:latin typeface="+mn-lt"/>
                </a:rPr>
                <a:t>New TEN-T and CEF</a:t>
              </a:r>
              <a:endParaRPr lang="en-GB" sz="14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1" name="Text Box 132"/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5078776" y="4185254"/>
              <a:ext cx="987779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>
              <a:lvl1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algn="l" defTabSz="900113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defTabSz="9001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GB" sz="1400" dirty="0">
                  <a:solidFill>
                    <a:srgbClr val="0046AD"/>
                  </a:solidFill>
                  <a:latin typeface="+mn-lt"/>
                </a:rPr>
                <a:t>State Aid </a:t>
              </a:r>
              <a:r>
                <a:rPr lang="en-GB" sz="1400" dirty="0" smtClean="0">
                  <a:solidFill>
                    <a:srgbClr val="0046AD"/>
                  </a:solidFill>
                  <a:latin typeface="+mn-lt"/>
                </a:rPr>
                <a:t>Guidelines</a:t>
              </a:r>
              <a:endParaRPr lang="en-GB" sz="1400" dirty="0">
                <a:latin typeface="+mn-lt"/>
              </a:endParaRPr>
            </a:p>
          </p:txBody>
        </p:sp>
      </p:grpSp>
      <p:sp>
        <p:nvSpPr>
          <p:cNvPr id="52" name="Line Callout 1 (Accent Bar) 51"/>
          <p:cNvSpPr/>
          <p:nvPr/>
        </p:nvSpPr>
        <p:spPr bwMode="auto">
          <a:xfrm>
            <a:off x="323528" y="3356992"/>
            <a:ext cx="2304256" cy="2849843"/>
          </a:xfrm>
          <a:prstGeom prst="accentCallout1">
            <a:avLst>
              <a:gd name="adj1" fmla="val 46567"/>
              <a:gd name="adj2" fmla="val 100460"/>
              <a:gd name="adj3" fmla="val 18436"/>
              <a:gd name="adj4" fmla="val 114212"/>
            </a:avLst>
          </a:prstGeom>
          <a:solidFill>
            <a:schemeClr val="bg1"/>
          </a:solidFill>
          <a:ln w="28575" cap="flat" cmpd="sng" algn="ctr">
            <a:solidFill>
              <a:srgbClr val="CC0066"/>
            </a:solidFill>
            <a:prstDash val="solid"/>
            <a:round/>
            <a:headEnd type="none" w="med" len="med"/>
            <a:tailEnd type="oval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n-GB" sz="1400" b="0" dirty="0">
                <a:solidFill>
                  <a:srgbClr val="7F7F7F"/>
                </a:solidFill>
              </a:rPr>
              <a:t>Reinforced accounts separation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GB" sz="1400" b="0" dirty="0">
                <a:solidFill>
                  <a:srgbClr val="7F7F7F"/>
                </a:solidFill>
              </a:rPr>
              <a:t>Independence of IM’s essential function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GB" sz="1400" b="0" dirty="0">
                <a:solidFill>
                  <a:srgbClr val="7F7F7F"/>
                </a:solidFill>
              </a:rPr>
              <a:t>Longer and stronger MAC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GB" sz="1400" b="0" dirty="0">
                <a:solidFill>
                  <a:srgbClr val="7F7F7F"/>
                </a:solidFill>
              </a:rPr>
              <a:t>New principles for TAC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GB" sz="1400" b="0" dirty="0">
                <a:solidFill>
                  <a:srgbClr val="7F7F7F"/>
                </a:solidFill>
              </a:rPr>
              <a:t>NDTACs and ETCS TACs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GB" sz="1400" b="0" dirty="0" err="1">
                <a:solidFill>
                  <a:srgbClr val="7F7F7F"/>
                </a:solidFill>
              </a:rPr>
              <a:t>Acess</a:t>
            </a:r>
            <a:r>
              <a:rPr lang="en-GB" sz="1400" b="0" dirty="0">
                <a:solidFill>
                  <a:srgbClr val="7F7F7F"/>
                </a:solidFill>
              </a:rPr>
              <a:t> to Rail Related Services</a:t>
            </a:r>
          </a:p>
        </p:txBody>
      </p:sp>
      <p:sp>
        <p:nvSpPr>
          <p:cNvPr id="53" name="Oval 52"/>
          <p:cNvSpPr/>
          <p:nvPr/>
        </p:nvSpPr>
        <p:spPr>
          <a:xfrm rot="18605824">
            <a:off x="3790291" y="2718883"/>
            <a:ext cx="785119" cy="510952"/>
          </a:xfrm>
          <a:prstGeom prst="ellipse">
            <a:avLst/>
          </a:prstGeom>
          <a:solidFill>
            <a:srgbClr val="CC006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it-IT" sz="2400" dirty="0">
                <a:solidFill>
                  <a:schemeClr val="bg1"/>
                </a:solidFill>
              </a:rPr>
              <a:t>‘12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54" name="Oval 53"/>
          <p:cNvSpPr/>
          <p:nvPr/>
        </p:nvSpPr>
        <p:spPr>
          <a:xfrm rot="18605824">
            <a:off x="8120448" y="2745330"/>
            <a:ext cx="785119" cy="510952"/>
          </a:xfrm>
          <a:prstGeom prst="ellipse">
            <a:avLst/>
          </a:prstGeom>
          <a:solidFill>
            <a:srgbClr val="CC006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it-IT" sz="2400" dirty="0" smtClean="0">
                <a:solidFill>
                  <a:schemeClr val="bg1"/>
                </a:solidFill>
              </a:rPr>
              <a:t>‘16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55" name="Oval 54"/>
          <p:cNvSpPr/>
          <p:nvPr/>
        </p:nvSpPr>
        <p:spPr>
          <a:xfrm rot="18605824">
            <a:off x="5262385" y="2713680"/>
            <a:ext cx="785119" cy="510952"/>
          </a:xfrm>
          <a:prstGeom prst="ellipse">
            <a:avLst/>
          </a:prstGeom>
          <a:solidFill>
            <a:srgbClr val="CC006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it-IT" sz="2400" dirty="0">
                <a:solidFill>
                  <a:schemeClr val="bg1"/>
                </a:solidFill>
              </a:rPr>
              <a:t>‘</a:t>
            </a:r>
            <a:r>
              <a:rPr lang="it-IT" sz="2400" dirty="0" smtClean="0">
                <a:solidFill>
                  <a:schemeClr val="bg1"/>
                </a:solidFill>
              </a:rPr>
              <a:t>14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57" name="Line Callout 2 (Accent Bar) 56"/>
          <p:cNvSpPr/>
          <p:nvPr/>
        </p:nvSpPr>
        <p:spPr bwMode="auto">
          <a:xfrm>
            <a:off x="4938165" y="4922219"/>
            <a:ext cx="2644956" cy="1224136"/>
          </a:xfrm>
          <a:prstGeom prst="accentCallout2">
            <a:avLst>
              <a:gd name="adj1" fmla="val 80631"/>
              <a:gd name="adj2" fmla="val 100043"/>
              <a:gd name="adj3" fmla="val -52008"/>
              <a:gd name="adj4" fmla="val 117651"/>
              <a:gd name="adj5" fmla="val -51722"/>
              <a:gd name="adj6" fmla="val 118391"/>
            </a:avLst>
          </a:prstGeom>
          <a:solidFill>
            <a:schemeClr val="bg1"/>
          </a:solidFill>
          <a:ln w="28575" cap="flat" cmpd="sng" algn="ctr">
            <a:solidFill>
              <a:srgbClr val="CC0066"/>
            </a:solidFill>
            <a:prstDash val="solid"/>
            <a:round/>
            <a:headEnd type="none" w="med" len="med"/>
            <a:tailEnd type="oval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n-GB" sz="1400" b="1" dirty="0" smtClean="0">
                <a:solidFill>
                  <a:srgbClr val="C00000"/>
                </a:solidFill>
              </a:rPr>
              <a:t>Opening of domestic passenger markets for both commercial services and PSOs</a:t>
            </a:r>
            <a:endParaRPr lang="en-GB" sz="14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56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762" y="1140313"/>
            <a:ext cx="6790476" cy="5438095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sz="3200" dirty="0"/>
              <a:t>Rail governance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787900" y="1140313"/>
            <a:ext cx="4140200" cy="147732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GB" dirty="0" smtClean="0">
                <a:solidFill>
                  <a:srgbClr val="DA0000"/>
                </a:solidFill>
              </a:rPr>
              <a:t>Integrated system</a:t>
            </a:r>
          </a:p>
          <a:p>
            <a:pPr algn="r"/>
            <a:r>
              <a:rPr lang="en-GB" dirty="0">
                <a:solidFill>
                  <a:srgbClr val="F86B68"/>
                </a:solidFill>
              </a:rPr>
              <a:t>I</a:t>
            </a:r>
            <a:r>
              <a:rPr lang="en-GB" dirty="0" smtClean="0">
                <a:solidFill>
                  <a:srgbClr val="F86B68"/>
                </a:solidFill>
              </a:rPr>
              <a:t>ntegrated </a:t>
            </a:r>
            <a:r>
              <a:rPr lang="en-GB" dirty="0">
                <a:solidFill>
                  <a:srgbClr val="F86B68"/>
                </a:solidFill>
              </a:rPr>
              <a:t>systems with enhanced independency of the IM </a:t>
            </a:r>
            <a:endParaRPr lang="en-GB" dirty="0" smtClean="0">
              <a:solidFill>
                <a:srgbClr val="F86B68"/>
              </a:solidFill>
            </a:endParaRPr>
          </a:p>
          <a:p>
            <a:pPr algn="r"/>
            <a:r>
              <a:rPr lang="en-GB" dirty="0">
                <a:solidFill>
                  <a:srgbClr val="0051F2"/>
                </a:solidFill>
              </a:rPr>
              <a:t>S</a:t>
            </a:r>
            <a:r>
              <a:rPr lang="en-GB" dirty="0" smtClean="0">
                <a:solidFill>
                  <a:srgbClr val="0051F2"/>
                </a:solidFill>
              </a:rPr>
              <a:t>eparated IM</a:t>
            </a:r>
          </a:p>
          <a:p>
            <a:pPr algn="r"/>
            <a:r>
              <a:rPr lang="en-GB" dirty="0" smtClean="0">
                <a:solidFill>
                  <a:srgbClr val="35E7DF"/>
                </a:solidFill>
              </a:rPr>
              <a:t>Separated multimodal IM</a:t>
            </a:r>
            <a:endParaRPr lang="en-GB" dirty="0">
              <a:solidFill>
                <a:srgbClr val="35E7D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5770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/>
          <p:cNvGraphicFramePr>
            <a:graphicFrameLocks/>
          </p:cNvGraphicFramePr>
          <p:nvPr>
            <p:extLst/>
          </p:nvPr>
        </p:nvGraphicFramePr>
        <p:xfrm>
          <a:off x="401683" y="1725114"/>
          <a:ext cx="4056017" cy="3955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Chart 3"/>
          <p:cNvGraphicFramePr>
            <a:graphicFrameLocks/>
          </p:cNvGraphicFramePr>
          <p:nvPr>
            <p:extLst/>
          </p:nvPr>
        </p:nvGraphicFramePr>
        <p:xfrm>
          <a:off x="4743450" y="1530804"/>
          <a:ext cx="4069081" cy="41499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01683" y="371284"/>
            <a:ext cx="6286501" cy="676915"/>
          </a:xfrm>
        </p:spPr>
        <p:txBody>
          <a:bodyPr vert="horz" lIns="68580" tIns="34290" rIns="68580" bIns="34290" rtlCol="0" anchor="t">
            <a:noAutofit/>
          </a:bodyPr>
          <a:lstStyle/>
          <a:p>
            <a:pPr algn="l">
              <a:spcBef>
                <a:spcPct val="20000"/>
              </a:spcBef>
              <a:buFont typeface="Arial"/>
            </a:pPr>
            <a:r>
              <a:rPr lang="fr-BE" sz="3200" b="1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So </a:t>
            </a:r>
            <a:r>
              <a:rPr lang="fr-BE" sz="3200" b="1" dirty="0" err="1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w</a:t>
            </a:r>
            <a:r>
              <a:rPr lang="fr-BE" sz="3200" b="1" dirty="0" err="1" smtClean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here</a:t>
            </a:r>
            <a:r>
              <a:rPr lang="fr-BE" sz="3200" b="1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3200" b="1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do </a:t>
            </a:r>
            <a:r>
              <a:rPr lang="fr-BE" sz="3200" b="1" dirty="0" err="1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we</a:t>
            </a:r>
            <a:r>
              <a:rPr lang="fr-BE" sz="3200" b="1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 stand?</a:t>
            </a:r>
            <a:endParaRPr lang="en-US" sz="3200" b="1" dirty="0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5168900" y="6019167"/>
            <a:ext cx="3643631" cy="676915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ct val="20000"/>
              </a:spcBef>
              <a:buFont typeface="Arial"/>
              <a:buNone/>
            </a:pPr>
            <a:r>
              <a:rPr lang="fr-BE" sz="3200" b="1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…</a:t>
            </a:r>
            <a:r>
              <a:rPr lang="fr-BE" sz="3200" b="1" dirty="0" err="1" smtClean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what</a:t>
            </a:r>
            <a:r>
              <a:rPr lang="fr-BE" sz="3200" b="1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 to do?</a:t>
            </a:r>
            <a:endParaRPr lang="en-US" sz="3200" b="1" dirty="0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3438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176783" y="240722"/>
            <a:ext cx="7348729" cy="1066800"/>
          </a:xfrm>
        </p:spPr>
        <p:txBody>
          <a:bodyPr>
            <a:noAutofit/>
          </a:bodyPr>
          <a:lstStyle/>
          <a:p>
            <a:pPr algn="l"/>
            <a:r>
              <a:rPr lang="fr-BE" sz="3200" b="1" dirty="0" err="1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Governance</a:t>
            </a:r>
            <a:r>
              <a:rPr lang="fr-BE" sz="3200" b="1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 structure? </a:t>
            </a:r>
            <a:br>
              <a:rPr lang="fr-BE" sz="3200" b="1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</a:br>
            <a:endParaRPr lang="en-US" sz="3200" b="1" dirty="0">
              <a:solidFill>
                <a:schemeClr val="accent6"/>
              </a:solidFill>
              <a:latin typeface="+mn-lt"/>
              <a:ea typeface="+mn-ea"/>
              <a:cs typeface="+mn-cs"/>
            </a:endParaRPr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99104404"/>
              </p:ext>
            </p:extLst>
          </p:nvPr>
        </p:nvGraphicFramePr>
        <p:xfrm>
          <a:off x="493068" y="1516118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801" y="1022167"/>
            <a:ext cx="2766025" cy="7386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BE" sz="1400" dirty="0" smtClean="0"/>
              <a:t>Rail </a:t>
            </a:r>
            <a:r>
              <a:rPr lang="fr-BE" sz="1400" dirty="0" err="1" smtClean="0"/>
              <a:t>Freight</a:t>
            </a:r>
            <a:endParaRPr lang="fr-BE" sz="1400" dirty="0" smtClean="0"/>
          </a:p>
          <a:p>
            <a:pPr algn="ctr"/>
            <a:r>
              <a:rPr lang="fr-BE" sz="1400" dirty="0" smtClean="0"/>
              <a:t>MODAL SHARE GROWTH</a:t>
            </a:r>
          </a:p>
          <a:p>
            <a:pPr algn="ctr"/>
            <a:r>
              <a:rPr lang="fr-BE" sz="1400" dirty="0" smtClean="0"/>
              <a:t>2002 - 2012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495215" y="3295904"/>
            <a:ext cx="1648785" cy="95410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fr-BE" sz="1400" dirty="0" smtClean="0"/>
              <a:t>Rail </a:t>
            </a:r>
            <a:r>
              <a:rPr lang="fr-BE" sz="1400" dirty="0" err="1" smtClean="0"/>
              <a:t>Freight</a:t>
            </a:r>
            <a:endParaRPr lang="fr-BE" sz="1400" dirty="0"/>
          </a:p>
          <a:p>
            <a:pPr algn="ctr"/>
            <a:r>
              <a:rPr lang="fr-BE" sz="1400" dirty="0"/>
              <a:t>NEW ENTRANTS</a:t>
            </a:r>
          </a:p>
          <a:p>
            <a:pPr algn="ctr"/>
            <a:r>
              <a:rPr lang="fr-BE" sz="1400" dirty="0" smtClean="0"/>
              <a:t>Share in 2014</a:t>
            </a:r>
            <a:endParaRPr lang="fr-BE" sz="1400" dirty="0"/>
          </a:p>
          <a:p>
            <a:pPr algn="ctr"/>
            <a:r>
              <a:rPr lang="fr-BE" sz="1400" dirty="0" smtClean="0"/>
              <a:t>(%)</a:t>
            </a:r>
            <a:endParaRPr lang="fr-BE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65715" y="6343603"/>
            <a:ext cx="80528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BE" sz="1400" dirty="0" smtClean="0"/>
              <a:t>Data Source</a:t>
            </a:r>
            <a:r>
              <a:rPr lang="fr-BE" sz="1400" b="0" dirty="0" smtClean="0"/>
              <a:t>: </a:t>
            </a:r>
            <a:r>
              <a:rPr lang="fr-BE" sz="1400" b="0" dirty="0" err="1" smtClean="0"/>
              <a:t>European</a:t>
            </a:r>
            <a:r>
              <a:rPr lang="fr-BE" sz="1400" b="0" dirty="0" smtClean="0"/>
              <a:t> </a:t>
            </a:r>
            <a:r>
              <a:rPr lang="fr-BE" sz="1400" b="0" dirty="0" err="1" smtClean="0"/>
              <a:t>Commission’s</a:t>
            </a:r>
            <a:r>
              <a:rPr lang="fr-BE" sz="1400" b="0" dirty="0" smtClean="0"/>
              <a:t> RMMS 2007-2014 (</a:t>
            </a:r>
            <a:r>
              <a:rPr lang="fr-BE" sz="1400" b="0" dirty="0" err="1" smtClean="0"/>
              <a:t>excluding</a:t>
            </a:r>
            <a:r>
              <a:rPr lang="fr-BE" sz="1400" b="0" dirty="0" smtClean="0"/>
              <a:t> HR &amp; LU)</a:t>
            </a:r>
            <a:endParaRPr lang="fr-BE" sz="1400" b="0" dirty="0"/>
          </a:p>
        </p:txBody>
      </p:sp>
      <p:sp>
        <p:nvSpPr>
          <p:cNvPr id="9" name="TextBox 2"/>
          <p:cNvSpPr txBox="1"/>
          <p:nvPr/>
        </p:nvSpPr>
        <p:spPr>
          <a:xfrm>
            <a:off x="4279074" y="5658104"/>
            <a:ext cx="21707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fr-BE" sz="1400" dirty="0" smtClean="0">
                <a:solidFill>
                  <a:srgbClr val="0046AD"/>
                </a:solidFill>
                <a:sym typeface="Wingdings" panose="05000000000000000000" pitchFamily="2" charset="2"/>
              </a:rPr>
              <a:t></a:t>
            </a:r>
            <a:r>
              <a:rPr lang="fr-BE" sz="1400" b="0" dirty="0" smtClean="0">
                <a:solidFill>
                  <a:srgbClr val="0046AD"/>
                </a:solidFill>
                <a:sym typeface="Wingdings" panose="05000000000000000000" pitchFamily="2" charset="2"/>
              </a:rPr>
              <a:t> More </a:t>
            </a:r>
            <a:r>
              <a:rPr lang="fr-BE" sz="1400" b="0" dirty="0" err="1" smtClean="0">
                <a:solidFill>
                  <a:srgbClr val="0046AD"/>
                </a:solidFill>
                <a:sym typeface="Wingdings" panose="05000000000000000000" pitchFamily="2" charset="2"/>
              </a:rPr>
              <a:t>than</a:t>
            </a:r>
            <a:r>
              <a:rPr lang="fr-BE" sz="1400" b="0" dirty="0" smtClean="0">
                <a:solidFill>
                  <a:srgbClr val="0046AD"/>
                </a:solidFill>
                <a:sym typeface="Wingdings" panose="05000000000000000000" pitchFamily="2" charset="2"/>
              </a:rPr>
              <a:t> 25% new </a:t>
            </a:r>
          </a:p>
          <a:p>
            <a:r>
              <a:rPr lang="fr-BE" sz="1400" b="0" dirty="0" smtClean="0">
                <a:solidFill>
                  <a:srgbClr val="0046AD"/>
                </a:solidFill>
                <a:sym typeface="Wingdings" panose="05000000000000000000" pitchFamily="2" charset="2"/>
              </a:rPr>
              <a:t>    entrant</a:t>
            </a:r>
            <a:r>
              <a:rPr lang="fr-BE" sz="1400" b="0" dirty="0">
                <a:solidFill>
                  <a:srgbClr val="0046AD"/>
                </a:solidFill>
                <a:sym typeface="Wingdings" panose="05000000000000000000" pitchFamily="2" charset="2"/>
              </a:rPr>
              <a:t> </a:t>
            </a:r>
            <a:r>
              <a:rPr lang="fr-BE" sz="1400" b="0" dirty="0" err="1" smtClean="0">
                <a:solidFill>
                  <a:srgbClr val="0046AD"/>
                </a:solidFill>
                <a:sym typeface="Wingdings" panose="05000000000000000000" pitchFamily="2" charset="2"/>
              </a:rPr>
              <a:t>market</a:t>
            </a:r>
            <a:r>
              <a:rPr lang="fr-BE" sz="1400" b="0" dirty="0" smtClean="0">
                <a:solidFill>
                  <a:srgbClr val="0046AD"/>
                </a:solidFill>
                <a:sym typeface="Wingdings" panose="05000000000000000000" pitchFamily="2" charset="2"/>
              </a:rPr>
              <a:t> </a:t>
            </a:r>
            <a:r>
              <a:rPr lang="fr-BE" sz="1400" b="0" dirty="0" err="1" smtClean="0">
                <a:solidFill>
                  <a:srgbClr val="0046AD"/>
                </a:solidFill>
                <a:sym typeface="Wingdings" panose="05000000000000000000" pitchFamily="2" charset="2"/>
              </a:rPr>
              <a:t>share</a:t>
            </a:r>
            <a:r>
              <a:rPr lang="fr-BE" sz="1400" b="0" dirty="0" smtClean="0">
                <a:solidFill>
                  <a:srgbClr val="0046AD"/>
                </a:solidFill>
                <a:sym typeface="Wingdings" panose="05000000000000000000" pitchFamily="2" charset="2"/>
              </a:rPr>
              <a:t> </a:t>
            </a:r>
            <a:endParaRPr lang="en-US" sz="1400" b="0" dirty="0">
              <a:solidFill>
                <a:srgbClr val="0046AD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64684" y="5658104"/>
            <a:ext cx="211628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BE" sz="1400" b="0" dirty="0" err="1" smtClean="0">
                <a:solidFill>
                  <a:srgbClr val="0046AD"/>
                </a:solidFill>
                <a:sym typeface="Wingdings" panose="05000000000000000000" pitchFamily="2" charset="2"/>
              </a:rPr>
              <a:t>Less</a:t>
            </a:r>
            <a:r>
              <a:rPr lang="fr-BE" sz="1400" b="0" dirty="0" smtClean="0">
                <a:solidFill>
                  <a:srgbClr val="0046AD"/>
                </a:solidFill>
                <a:sym typeface="Wingdings" panose="05000000000000000000" pitchFamily="2" charset="2"/>
              </a:rPr>
              <a:t> </a:t>
            </a:r>
            <a:r>
              <a:rPr lang="fr-BE" sz="1400" b="0" dirty="0" err="1" smtClean="0">
                <a:solidFill>
                  <a:srgbClr val="0046AD"/>
                </a:solidFill>
                <a:sym typeface="Wingdings" panose="05000000000000000000" pitchFamily="2" charset="2"/>
              </a:rPr>
              <a:t>than</a:t>
            </a:r>
            <a:r>
              <a:rPr lang="fr-BE" sz="1400" b="0" dirty="0" smtClean="0">
                <a:solidFill>
                  <a:srgbClr val="0046AD"/>
                </a:solidFill>
                <a:sym typeface="Wingdings" panose="05000000000000000000" pitchFamily="2" charset="2"/>
              </a:rPr>
              <a:t> 25% new </a:t>
            </a:r>
            <a:r>
              <a:rPr lang="fr-BE" sz="1400" dirty="0" smtClean="0">
                <a:solidFill>
                  <a:srgbClr val="0046AD"/>
                </a:solidFill>
                <a:sym typeface="Wingdings" panose="05000000000000000000" pitchFamily="2" charset="2"/>
              </a:rPr>
              <a:t></a:t>
            </a:r>
            <a:endParaRPr lang="fr-BE" sz="1400" dirty="0">
              <a:solidFill>
                <a:srgbClr val="0046AD"/>
              </a:solidFill>
              <a:sym typeface="Wingdings" panose="05000000000000000000" pitchFamily="2" charset="2"/>
            </a:endParaRPr>
          </a:p>
          <a:p>
            <a:pPr algn="r"/>
            <a:r>
              <a:rPr lang="fr-BE" sz="1400" b="0" dirty="0" smtClean="0">
                <a:solidFill>
                  <a:srgbClr val="0046AD"/>
                </a:solidFill>
                <a:sym typeface="Wingdings" panose="05000000000000000000" pitchFamily="2" charset="2"/>
              </a:rPr>
              <a:t>entrant </a:t>
            </a:r>
            <a:r>
              <a:rPr lang="fr-BE" sz="1400" b="0" dirty="0" err="1" smtClean="0">
                <a:solidFill>
                  <a:srgbClr val="0046AD"/>
                </a:solidFill>
                <a:sym typeface="Wingdings" panose="05000000000000000000" pitchFamily="2" charset="2"/>
              </a:rPr>
              <a:t>market</a:t>
            </a:r>
            <a:r>
              <a:rPr lang="fr-BE" sz="1400" b="0" dirty="0" smtClean="0">
                <a:solidFill>
                  <a:srgbClr val="0046AD"/>
                </a:solidFill>
                <a:sym typeface="Wingdings" panose="05000000000000000000" pitchFamily="2" charset="2"/>
              </a:rPr>
              <a:t> </a:t>
            </a:r>
            <a:r>
              <a:rPr lang="fr-BE" sz="1400" b="0" dirty="0" err="1" smtClean="0">
                <a:solidFill>
                  <a:srgbClr val="0046AD"/>
                </a:solidFill>
                <a:sym typeface="Wingdings" panose="05000000000000000000" pitchFamily="2" charset="2"/>
              </a:rPr>
              <a:t>share</a:t>
            </a:r>
            <a:r>
              <a:rPr lang="fr-BE" sz="1400" b="0" dirty="0" smtClean="0">
                <a:solidFill>
                  <a:srgbClr val="0046AD"/>
                </a:solidFill>
                <a:sym typeface="Wingdings" panose="05000000000000000000" pitchFamily="2" charset="2"/>
              </a:rPr>
              <a:t>    </a:t>
            </a:r>
            <a:endParaRPr lang="en-US" sz="1400" b="0" dirty="0">
              <a:solidFill>
                <a:srgbClr val="0046AD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4277874" y="2026723"/>
            <a:ext cx="0" cy="4104456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21549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783" y="240722"/>
            <a:ext cx="7348729" cy="1066800"/>
          </a:xfrm>
        </p:spPr>
        <p:txBody>
          <a:bodyPr>
            <a:noAutofit/>
          </a:bodyPr>
          <a:lstStyle/>
          <a:p>
            <a:pPr algn="l"/>
            <a:r>
              <a:rPr lang="fr-BE" sz="3200" b="1" dirty="0" err="1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Financing</a:t>
            </a:r>
            <a:r>
              <a:rPr lang="fr-BE" sz="3200" b="1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3200" b="1" dirty="0" err="1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is</a:t>
            </a:r>
            <a:r>
              <a:rPr lang="fr-BE" sz="3200" b="1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 the key!</a:t>
            </a:r>
            <a:br>
              <a:rPr lang="fr-BE" sz="3200" b="1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</a:br>
            <a:r>
              <a:rPr lang="fr-BE" sz="3200" b="1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Rail </a:t>
            </a:r>
            <a:r>
              <a:rPr lang="fr-BE" sz="3200" b="1" dirty="0" err="1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freight</a:t>
            </a:r>
            <a:r>
              <a:rPr lang="fr-BE" sz="3200" b="1" dirty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 </a:t>
            </a:r>
            <a:r>
              <a:rPr lang="fr-BE" sz="3200" b="1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modal </a:t>
            </a:r>
            <a:r>
              <a:rPr lang="fr-BE" sz="3200" b="1" dirty="0" err="1" smtClean="0">
                <a:solidFill>
                  <a:schemeClr val="accent6"/>
                </a:solidFill>
                <a:latin typeface="+mn-lt"/>
                <a:ea typeface="+mn-ea"/>
                <a:cs typeface="+mn-cs"/>
              </a:rPr>
              <a:t>share</a:t>
            </a:r>
            <a:r>
              <a:rPr lang="fr-BE" sz="2400" b="1" dirty="0" smtClean="0"/>
              <a:t/>
            </a:r>
            <a:br>
              <a:rPr lang="fr-BE" sz="2400" b="1" dirty="0" smtClean="0"/>
            </a:br>
            <a:endParaRPr lang="en-US" sz="1600" b="1" i="1" dirty="0">
              <a:solidFill>
                <a:srgbClr val="FF0000"/>
              </a:solidFill>
            </a:endParaRPr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03295930"/>
              </p:ext>
            </p:extLst>
          </p:nvPr>
        </p:nvGraphicFramePr>
        <p:xfrm>
          <a:off x="704088" y="1883767"/>
          <a:ext cx="7993056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0" y="1444189"/>
            <a:ext cx="2766025" cy="7386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BE" sz="1400" dirty="0" smtClean="0"/>
              <a:t>Rail </a:t>
            </a:r>
            <a:r>
              <a:rPr lang="fr-BE" sz="1400" dirty="0" err="1" smtClean="0"/>
              <a:t>Freight</a:t>
            </a:r>
            <a:endParaRPr lang="fr-BE" sz="1400" dirty="0" smtClean="0"/>
          </a:p>
          <a:p>
            <a:pPr algn="ctr"/>
            <a:r>
              <a:rPr lang="fr-BE" sz="1400" dirty="0" smtClean="0"/>
              <a:t>MODAL SHARE GROWTH</a:t>
            </a:r>
          </a:p>
          <a:p>
            <a:pPr algn="ctr"/>
            <a:r>
              <a:rPr lang="fr-BE" sz="1400" dirty="0" smtClean="0"/>
              <a:t>(2002 – 2012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684265" y="3777416"/>
            <a:ext cx="2022218" cy="7386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BE" sz="1400" dirty="0" smtClean="0"/>
              <a:t>Rail FINANCING</a:t>
            </a:r>
          </a:p>
          <a:p>
            <a:pPr algn="ctr"/>
            <a:r>
              <a:rPr lang="fr-BE" sz="1400" dirty="0" smtClean="0"/>
              <a:t>(1000€/line.km/</a:t>
            </a:r>
            <a:r>
              <a:rPr lang="fr-BE" sz="1400" dirty="0" err="1" smtClean="0"/>
              <a:t>yr</a:t>
            </a:r>
            <a:endParaRPr lang="fr-BE" sz="1400" dirty="0" smtClean="0"/>
          </a:p>
          <a:p>
            <a:pPr algn="ctr"/>
            <a:r>
              <a:rPr lang="fr-BE" sz="1400" dirty="0" smtClean="0"/>
              <a:t> 2002-2012)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335594" y="5144289"/>
            <a:ext cx="33057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BE" b="1" dirty="0" smtClean="0">
                <a:solidFill>
                  <a:srgbClr val="92D050"/>
                </a:solidFill>
              </a:rPr>
              <a:t>Integrated </a:t>
            </a:r>
            <a:r>
              <a:rPr lang="fr-BE" b="1" dirty="0" smtClean="0"/>
              <a:t>/ </a:t>
            </a:r>
            <a:r>
              <a:rPr lang="fr-BE" b="1" dirty="0" err="1" smtClean="0">
                <a:solidFill>
                  <a:srgbClr val="FF0000"/>
                </a:solidFill>
              </a:rPr>
              <a:t>Unbundled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90202" y="6371484"/>
            <a:ext cx="72208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BE" sz="1400" dirty="0" smtClean="0"/>
              <a:t>Data Source</a:t>
            </a:r>
            <a:r>
              <a:rPr lang="fr-BE" sz="1400" b="0" dirty="0" smtClean="0"/>
              <a:t>: </a:t>
            </a:r>
            <a:r>
              <a:rPr lang="fr-BE" sz="1400" b="0" dirty="0" err="1" smtClean="0"/>
              <a:t>European</a:t>
            </a:r>
            <a:r>
              <a:rPr lang="fr-BE" sz="1400" b="0" dirty="0" smtClean="0"/>
              <a:t> </a:t>
            </a:r>
            <a:r>
              <a:rPr lang="fr-BE" sz="1400" b="0" dirty="0" err="1" smtClean="0"/>
              <a:t>Commission’s</a:t>
            </a:r>
            <a:r>
              <a:rPr lang="fr-BE" sz="1400" b="0" dirty="0" smtClean="0"/>
              <a:t> RMMS 2007-2014 (</a:t>
            </a:r>
            <a:r>
              <a:rPr lang="fr-BE" sz="1400" b="0" dirty="0" err="1"/>
              <a:t>e</a:t>
            </a:r>
            <a:r>
              <a:rPr lang="fr-BE" sz="1400" b="0" dirty="0" err="1" smtClean="0"/>
              <a:t>xcluding</a:t>
            </a:r>
            <a:r>
              <a:rPr lang="fr-BE" sz="1400" b="0" dirty="0" smtClean="0"/>
              <a:t> HR &amp; LU)</a:t>
            </a:r>
            <a:endParaRPr lang="fr-BE" sz="1400" b="0" dirty="0"/>
          </a:p>
        </p:txBody>
      </p:sp>
    </p:spTree>
    <p:extLst>
      <p:ext uri="{BB962C8B-B14F-4D97-AF65-F5344CB8AC3E}">
        <p14:creationId xmlns:p14="http://schemas.microsoft.com/office/powerpoint/2010/main" val="1405848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pWhsfY30WZKfmkDFJSn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SsRDMICkWzBxgiyHys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8ruAV1PUSjvJW0TaTL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gFU5pKg0i6uUE3HyV4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VifgH2kEutYpK24_KWD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HCcTWMOU.JfxZVsAYFd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iXSEedHUiS2yb1LH_Q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u.S7QzkkO1Nw3f5H.5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b10Q1DfUiVvHp1q0As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ryPgF9jk6VPC98Ns4G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S3ayt3SEufVf1EUdw4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uF62NwbEy7Jc9rogu7H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g.NycfnEWPK0SzWLtYz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YmCoY.E0G0AsSluRIpb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HDA3dHMkOJApSwQUJsV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0a96pm2UuEiwogSRcG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DCQNQsAkWAPNZRBOV5p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jxX9E3hUKkw6TGJlFsQ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XpX5zmwUCwoJ5oNixs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Gekbx1kkmmpnJaxjsCj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uJjq6S0KD4ft1UsvoX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TM7EH6Q0iqPFM7wWze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z4SMwfHEyOSZ8HSmrR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VKKN8LhEiItzHeHgAWB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GIEuqBjUGPC7epet.Q4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bbbtBGYUejHQasJaS29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UmrHu_nEWvCzqdQcJk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zfetObPEK3qXDVFBnv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1yzaSzkk2qL6ADZ5RMo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a5eEFvtEOhBmHRbZ_lt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uF62NwbEy7Jc9rogu7H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uF62NwbEy7Jc9rogu7H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KW.uGCGkqnysxSK8F1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aA6kATe0C8s8XtgeDH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dwmWwcFEq0zgKBNzicv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4pENfpFkK81.LhRK29V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SsRDMICkWzBxgiyHys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8ruAV1PUSjvJW0TaTLN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HCcTWMOU.JfxZVsAYFd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jEG0iKo0KjLhwvD1SvB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u.S7QzkkO1Nw3f5H.5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b10Q1DfUiVvHp1q0As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5J.yYLfkmfRTw_DXzvP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ryPgF9jk6VPC98Ns4G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KW.uGCGkqnysxSK8F1x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4dRwtIMkGS9kRHni5m3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g.NycfnEWPK0SzWLtYz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HDA3dHMkOJApSwQUJsV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0a96pm2UuEiwogSRcGA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Gekbx1kkmmpnJaxjsCj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uJjq6S0KD4ft1UsvoX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TM7EH6Q0iqPFM7wWzef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VKKN8LhEiItzHeHgAWB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GIEuqBjUGPC7epet.Q4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bbbtBGYUejHQasJaS29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dwmWwcFEq0zgKBNzic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4HP.7iJjUKW.O7v9V3e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jN1LmkvUuOYwPemAOn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4pENfpFkK81.LhRK29Vg"/>
</p:tagLst>
</file>

<file path=ppt/theme/theme1.xml><?xml version="1.0" encoding="utf-8"?>
<a:theme xmlns:a="http://schemas.openxmlformats.org/drawingml/2006/main" name="CER_PPT">
  <a:themeElements>
    <a:clrScheme name="CER_Powerpoint">
      <a:dk1>
        <a:srgbClr val="FFFFFF"/>
      </a:dk1>
      <a:lt1>
        <a:srgbClr val="005FAA"/>
      </a:lt1>
      <a:dk2>
        <a:srgbClr val="00305B"/>
      </a:dk2>
      <a:lt2>
        <a:srgbClr val="3C5C87"/>
      </a:lt2>
      <a:accent1>
        <a:srgbClr val="005FAA"/>
      </a:accent1>
      <a:accent2>
        <a:srgbClr val="6A98B8"/>
      </a:accent2>
      <a:accent3>
        <a:srgbClr val="C6C6C7"/>
      </a:accent3>
      <a:accent4>
        <a:srgbClr val="B30E0A"/>
      </a:accent4>
      <a:accent5>
        <a:srgbClr val="DCC99F"/>
      </a:accent5>
      <a:accent6>
        <a:srgbClr val="005FAA"/>
      </a:accent6>
      <a:hlink>
        <a:srgbClr val="005FAA"/>
      </a:hlink>
      <a:folHlink>
        <a:srgbClr val="B30F0B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CER_Powerpoint">
    <a:dk1>
      <a:srgbClr val="FFFFFF"/>
    </a:dk1>
    <a:lt1>
      <a:srgbClr val="005FAA"/>
    </a:lt1>
    <a:dk2>
      <a:srgbClr val="00305B"/>
    </a:dk2>
    <a:lt2>
      <a:srgbClr val="3C5C87"/>
    </a:lt2>
    <a:accent1>
      <a:srgbClr val="005FAA"/>
    </a:accent1>
    <a:accent2>
      <a:srgbClr val="6A98B8"/>
    </a:accent2>
    <a:accent3>
      <a:srgbClr val="C6C6C7"/>
    </a:accent3>
    <a:accent4>
      <a:srgbClr val="B30E0A"/>
    </a:accent4>
    <a:accent5>
      <a:srgbClr val="DCC99F"/>
    </a:accent5>
    <a:accent6>
      <a:srgbClr val="005FAA"/>
    </a:accent6>
    <a:hlink>
      <a:srgbClr val="005FAA"/>
    </a:hlink>
    <a:folHlink>
      <a:srgbClr val="B30F0B"/>
    </a:folHlink>
  </a:clrScheme>
</a:themeOverride>
</file>

<file path=ppt/theme/themeOverride2.xml><?xml version="1.0" encoding="utf-8"?>
<a:themeOverride xmlns:a="http://schemas.openxmlformats.org/drawingml/2006/main">
  <a:clrScheme name="CER_Powerpoint">
    <a:dk1>
      <a:srgbClr val="FFFFFF"/>
    </a:dk1>
    <a:lt1>
      <a:srgbClr val="005FAA"/>
    </a:lt1>
    <a:dk2>
      <a:srgbClr val="00305B"/>
    </a:dk2>
    <a:lt2>
      <a:srgbClr val="3C5C87"/>
    </a:lt2>
    <a:accent1>
      <a:srgbClr val="005FAA"/>
    </a:accent1>
    <a:accent2>
      <a:srgbClr val="6A98B8"/>
    </a:accent2>
    <a:accent3>
      <a:srgbClr val="C6C6C7"/>
    </a:accent3>
    <a:accent4>
      <a:srgbClr val="B30E0A"/>
    </a:accent4>
    <a:accent5>
      <a:srgbClr val="DCC99F"/>
    </a:accent5>
    <a:accent6>
      <a:srgbClr val="005FAA"/>
    </a:accent6>
    <a:hlink>
      <a:srgbClr val="005FAA"/>
    </a:hlink>
    <a:folHlink>
      <a:srgbClr val="B30F0B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33</TotalTime>
  <Words>646</Words>
  <Application>Microsoft Office PowerPoint</Application>
  <PresentationFormat>On-screen Show (4:3)</PresentationFormat>
  <Paragraphs>202</Paragraphs>
  <Slides>13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CER_PPT</vt:lpstr>
      <vt:lpstr>An excursus on rail reform in the EU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o where do we stand?</vt:lpstr>
      <vt:lpstr>Governance structure?  </vt:lpstr>
      <vt:lpstr>Financing is the key! Rail freight modal share </vt:lpstr>
      <vt:lpstr>PowerPoint Presentation</vt:lpstr>
      <vt:lpstr>PowerPoint Presentation</vt:lpstr>
      <vt:lpstr>Key elements of the sustainable rail development</vt:lpstr>
      <vt:lpstr>PowerPoint Presentation</vt:lpstr>
    </vt:vector>
  </TitlesOfParts>
  <Company>page in extremis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R</dc:title>
  <dc:creator>Page Inextremis</dc:creator>
  <cp:lastModifiedBy>brynkina</cp:lastModifiedBy>
  <cp:revision>182</cp:revision>
  <dcterms:created xsi:type="dcterms:W3CDTF">2015-12-01T11:22:55Z</dcterms:created>
  <dcterms:modified xsi:type="dcterms:W3CDTF">2017-11-20T09:44:04Z</dcterms:modified>
</cp:coreProperties>
</file>